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3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9"/>
  </p:notesMasterIdLst>
  <p:handoutMasterIdLst>
    <p:handoutMasterId r:id="rId60"/>
  </p:handoutMasterIdLst>
  <p:sldIdLst>
    <p:sldId id="256" r:id="rId2"/>
    <p:sldId id="376" r:id="rId3"/>
    <p:sldId id="277" r:id="rId4"/>
    <p:sldId id="276" r:id="rId5"/>
    <p:sldId id="322" r:id="rId6"/>
    <p:sldId id="325" r:id="rId7"/>
    <p:sldId id="278" r:id="rId8"/>
    <p:sldId id="324" r:id="rId9"/>
    <p:sldId id="323" r:id="rId10"/>
    <p:sldId id="283" r:id="rId11"/>
    <p:sldId id="275" r:id="rId12"/>
    <p:sldId id="287" r:id="rId13"/>
    <p:sldId id="326" r:id="rId14"/>
    <p:sldId id="274" r:id="rId15"/>
    <p:sldId id="321" r:id="rId16"/>
    <p:sldId id="272" r:id="rId17"/>
    <p:sldId id="273" r:id="rId18"/>
    <p:sldId id="289" r:id="rId19"/>
    <p:sldId id="328" r:id="rId20"/>
    <p:sldId id="329" r:id="rId21"/>
    <p:sldId id="320" r:id="rId22"/>
    <p:sldId id="331" r:id="rId23"/>
    <p:sldId id="332" r:id="rId24"/>
    <p:sldId id="264" r:id="rId25"/>
    <p:sldId id="333" r:id="rId26"/>
    <p:sldId id="334" r:id="rId27"/>
    <p:sldId id="335" r:id="rId28"/>
    <p:sldId id="378" r:id="rId29"/>
    <p:sldId id="336" r:id="rId30"/>
    <p:sldId id="337" r:id="rId31"/>
    <p:sldId id="338" r:id="rId32"/>
    <p:sldId id="341" r:id="rId33"/>
    <p:sldId id="355" r:id="rId34"/>
    <p:sldId id="356" r:id="rId35"/>
    <p:sldId id="357" r:id="rId36"/>
    <p:sldId id="379" r:id="rId37"/>
    <p:sldId id="339" r:id="rId38"/>
    <p:sldId id="343" r:id="rId39"/>
    <p:sldId id="344" r:id="rId40"/>
    <p:sldId id="346" r:id="rId41"/>
    <p:sldId id="347" r:id="rId42"/>
    <p:sldId id="348" r:id="rId43"/>
    <p:sldId id="349" r:id="rId44"/>
    <p:sldId id="380" r:id="rId45"/>
    <p:sldId id="350" r:id="rId46"/>
    <p:sldId id="352" r:id="rId47"/>
    <p:sldId id="353" r:id="rId48"/>
    <p:sldId id="354" r:id="rId49"/>
    <p:sldId id="360" r:id="rId50"/>
    <p:sldId id="361" r:id="rId51"/>
    <p:sldId id="377" r:id="rId52"/>
    <p:sldId id="290" r:id="rId53"/>
    <p:sldId id="359" r:id="rId54"/>
    <p:sldId id="381" r:id="rId55"/>
    <p:sldId id="358" r:id="rId56"/>
    <p:sldId id="382" r:id="rId57"/>
    <p:sldId id="294" r:id="rId58"/>
  </p:sldIdLst>
  <p:sldSz cx="9144000" cy="5143500" type="screen16x9"/>
  <p:notesSz cx="6735763" cy="9799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851" autoAdjust="0"/>
  </p:normalViewPr>
  <p:slideViewPr>
    <p:cSldViewPr>
      <p:cViewPr>
        <p:scale>
          <a:sx n="140" d="100"/>
          <a:sy n="140" d="100"/>
        </p:scale>
        <p:origin x="-804" y="-22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401D0D-2F7F-405E-9667-940BC8DC1912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1F6C68FA-5CBA-46BF-8A79-C41AA41BE888}">
      <dgm:prSet phldrT="[Текст]" custT="1"/>
      <dgm:spPr/>
      <dgm:t>
        <a:bodyPr/>
        <a:lstStyle/>
        <a:p>
          <a:r>
            <a:rPr lang="ru-RU" sz="2400" b="1" i="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Практики МВ реализуемые в ДВНЦМС </a:t>
          </a:r>
          <a:endParaRPr lang="ru-RU" sz="2400" b="1" i="0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</dgm:t>
    </dgm:pt>
    <dgm:pt modelId="{9013A2F8-C8FE-41E7-9C52-858C586EAA16}" type="parTrans" cxnId="{CEC8FD82-FEB1-44CC-ACA2-10D09D97B96D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DEB48CBB-CC20-4A23-869A-76877156C104}" type="sibTrans" cxnId="{CEC8FD82-FEB1-44CC-ACA2-10D09D97B96D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FC17A2F6-58DE-4491-9F16-D47327FC2581}">
      <dgm:prSet phldrT="[Текст]" custT="1"/>
      <dgm:spPr/>
      <dgm:t>
        <a:bodyPr/>
        <a:lstStyle/>
        <a:p>
          <a:r>
            <a:rPr lang="ru-RU" sz="1000" b="1" i="1" dirty="0">
              <a:latin typeface="Arial" pitchFamily="34" charset="0"/>
              <a:cs typeface="Arial" pitchFamily="34" charset="0"/>
            </a:rPr>
            <a:t>1. Воспроизводство активистов  и лидеров в городе </a:t>
          </a:r>
          <a:endParaRPr lang="ru-RU" sz="1000" b="1" dirty="0">
            <a:latin typeface="Arial" pitchFamily="34" charset="0"/>
            <a:cs typeface="Arial" pitchFamily="34" charset="0"/>
          </a:endParaRPr>
        </a:p>
      </dgm:t>
    </dgm:pt>
    <dgm:pt modelId="{0EBBD495-9F85-4016-ABAC-BCC57956B02B}" type="parTrans" cxnId="{05084E23-D94A-4E2F-BA40-74D79873310E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2B86F5EC-4AA4-4FB3-A55C-AC35AFC7F026}" type="sibTrans" cxnId="{05084E23-D94A-4E2F-BA40-74D79873310E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56E70703-65E9-429F-BB7D-BC75BDDBBFC7}">
      <dgm:prSet custT="1"/>
      <dgm:spPr>
        <a:solidFill>
          <a:schemeClr val="bg1"/>
        </a:solidFill>
      </dgm:spPr>
      <dgm:t>
        <a:bodyPr/>
        <a:lstStyle/>
        <a:p>
          <a:r>
            <a:rPr lang="ru-RU" sz="1050" b="1" i="1" dirty="0">
              <a:latin typeface="Arial" pitchFamily="34" charset="0"/>
              <a:cs typeface="Arial" pitchFamily="34" charset="0"/>
            </a:rPr>
            <a:t>2. Разработка  систем вовлечения населения (лидеров </a:t>
          </a:r>
          <a:r>
            <a:rPr lang="ru-RU" sz="1050" b="1" i="1" dirty="0" smtClean="0">
              <a:latin typeface="Arial" pitchFamily="34" charset="0"/>
              <a:cs typeface="Arial" pitchFamily="34" charset="0"/>
            </a:rPr>
            <a:t>             и </a:t>
          </a:r>
          <a:r>
            <a:rPr lang="ru-RU" sz="1050" b="1" i="1" dirty="0">
              <a:latin typeface="Arial" pitchFamily="34" charset="0"/>
              <a:cs typeface="Arial" pitchFamily="34" charset="0"/>
            </a:rPr>
            <a:t>активистов) в местное самоуправление </a:t>
          </a:r>
          <a:endParaRPr lang="ru-RU" sz="1050" b="1" dirty="0">
            <a:latin typeface="Arial" pitchFamily="34" charset="0"/>
            <a:cs typeface="Arial" pitchFamily="34" charset="0"/>
          </a:endParaRPr>
        </a:p>
      </dgm:t>
    </dgm:pt>
    <dgm:pt modelId="{A6022F16-645F-47CE-8AFE-D3B3E786A4E4}" type="parTrans" cxnId="{DCE0CD7A-3AE2-470C-9328-9A573565A77F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689E21C8-6715-46DC-805D-978B00F1B914}" type="sibTrans" cxnId="{DCE0CD7A-3AE2-470C-9328-9A573565A77F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B2E61E23-A43B-4021-AD01-36C674F2FFC3}">
      <dgm:prSet custT="1"/>
      <dgm:spPr/>
      <dgm:t>
        <a:bodyPr/>
        <a:lstStyle/>
        <a:p>
          <a:r>
            <a:rPr lang="ru-RU" sz="900" dirty="0">
              <a:latin typeface="Arial" pitchFamily="34" charset="0"/>
              <a:cs typeface="Arial" pitchFamily="34" charset="0"/>
            </a:rPr>
            <a:t>1.1.Проведение </a:t>
          </a:r>
          <a:r>
            <a:rPr lang="ru-RU" sz="900" dirty="0" smtClean="0">
              <a:latin typeface="Arial" pitchFamily="34" charset="0"/>
              <a:cs typeface="Arial" pitchFamily="34" charset="0"/>
            </a:rPr>
            <a:t>ежегодного в </a:t>
          </a:r>
          <a:r>
            <a:rPr lang="ru-RU" sz="900" dirty="0">
              <a:latin typeface="Arial" pitchFamily="34" charset="0"/>
              <a:cs typeface="Arial" pitchFamily="34" charset="0"/>
            </a:rPr>
            <a:t>день  МСУ (21 апреля)  конкурса среди школьников                               </a:t>
          </a:r>
          <a:r>
            <a:rPr lang="ru-RU" sz="900" b="1" dirty="0">
              <a:latin typeface="Arial" pitchFamily="34" charset="0"/>
              <a:cs typeface="Arial" pitchFamily="34" charset="0"/>
            </a:rPr>
            <a:t>"Если бы я был мэром"  </a:t>
          </a:r>
        </a:p>
      </dgm:t>
    </dgm:pt>
    <dgm:pt modelId="{7863B1B1-D4FA-4B1E-9C5B-3B2B39C3CA85}" type="parTrans" cxnId="{2BD351C3-91C9-4059-9D04-1C7B15017C05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0B6C5AEB-844A-489F-8CD3-9E6F5C0CF653}" type="sibTrans" cxnId="{2BD351C3-91C9-4059-9D04-1C7B15017C05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B01DB9BA-03AD-4258-85BA-8999C1CE3499}">
      <dgm:prSet custT="1"/>
      <dgm:spPr>
        <a:solidFill>
          <a:srgbClr val="FFFF00"/>
        </a:solidFill>
      </dgm:spPr>
      <dgm:t>
        <a:bodyPr/>
        <a:lstStyle/>
        <a:p>
          <a:r>
            <a:rPr lang="ru-RU" sz="900" dirty="0" smtClean="0">
              <a:latin typeface="Arial" pitchFamily="34" charset="0"/>
              <a:cs typeface="Arial" pitchFamily="34" charset="0"/>
            </a:rPr>
            <a:t>1.2 Внедрение </a:t>
          </a:r>
          <a:r>
            <a:rPr lang="ru-RU" sz="900" dirty="0">
              <a:latin typeface="Arial" pitchFamily="34" charset="0"/>
              <a:cs typeface="Arial" pitchFamily="34" charset="0"/>
            </a:rPr>
            <a:t>с 2012 года в школы города курса                          </a:t>
          </a:r>
          <a:r>
            <a:rPr lang="ru-RU" sz="900" b="1" dirty="0">
              <a:latin typeface="Arial" pitchFamily="34" charset="0"/>
              <a:cs typeface="Arial" pitchFamily="34" charset="0"/>
            </a:rPr>
            <a:t>"Основы участия детей </a:t>
          </a:r>
          <a:r>
            <a:rPr lang="ru-RU" sz="900" b="1" dirty="0" smtClean="0">
              <a:latin typeface="Arial" pitchFamily="34" charset="0"/>
              <a:cs typeface="Arial" pitchFamily="34" charset="0"/>
            </a:rPr>
            <a:t>               и </a:t>
          </a:r>
          <a:r>
            <a:rPr lang="ru-RU" sz="900" b="1" dirty="0">
              <a:latin typeface="Arial" pitchFamily="34" charset="0"/>
              <a:cs typeface="Arial" pitchFamily="34" charset="0"/>
            </a:rPr>
            <a:t>молодёжи в общественной жизни"                                                            </a:t>
          </a:r>
          <a:r>
            <a:rPr lang="ru-RU" sz="900" dirty="0">
              <a:latin typeface="Arial" pitchFamily="34" charset="0"/>
              <a:cs typeface="Arial" pitchFamily="34" charset="0"/>
            </a:rPr>
            <a:t>с итоговой работой - разработка социального проекта, направленного на решение актуальной  городской проблемы  </a:t>
          </a:r>
        </a:p>
      </dgm:t>
    </dgm:pt>
    <dgm:pt modelId="{D6C491CC-1D6C-463D-8809-978C8AC96E0C}" type="parTrans" cxnId="{8C08BD94-F337-4A62-90A3-19F0D5868DC5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DA0BA3F2-B91B-4545-8E93-A1D265CBCF12}" type="sibTrans" cxnId="{8C08BD94-F337-4A62-90A3-19F0D5868DC5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01C25A0B-6157-4BE6-8CCB-03643908807B}">
      <dgm:prSet custT="1"/>
      <dgm:spPr/>
      <dgm:t>
        <a:bodyPr/>
        <a:lstStyle/>
        <a:p>
          <a:r>
            <a:rPr lang="ru-RU" sz="900" dirty="0">
              <a:latin typeface="Arial" pitchFamily="34" charset="0"/>
              <a:cs typeface="Arial" pitchFamily="34" charset="0"/>
            </a:rPr>
            <a:t>2.1.Участие граждан                             в стратегическом планировании </a:t>
          </a:r>
        </a:p>
      </dgm:t>
    </dgm:pt>
    <dgm:pt modelId="{2E04E8D2-126D-4CF8-A485-FD430873F760}" type="parTrans" cxnId="{B073126A-FB86-4C33-820C-EBA5F3EA5CFE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1190C87B-F502-43E2-94C5-B0259D8004E9}" type="sibTrans" cxnId="{B073126A-FB86-4C33-820C-EBA5F3EA5CFE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38B1DE61-64DD-4A5A-A36B-DFB00B42786B}">
      <dgm:prSet custT="1"/>
      <dgm:spPr>
        <a:solidFill>
          <a:srgbClr val="FFFF00"/>
        </a:solidFill>
      </dgm:spPr>
      <dgm:t>
        <a:bodyPr/>
        <a:lstStyle/>
        <a:p>
          <a:r>
            <a:rPr lang="ru-RU" sz="900" dirty="0">
              <a:latin typeface="Arial" pitchFamily="34" charset="0"/>
              <a:cs typeface="Arial" pitchFamily="34" charset="0"/>
            </a:rPr>
            <a:t>2.1.1. Участие </a:t>
          </a:r>
          <a:r>
            <a:rPr lang="ru-RU" sz="900" dirty="0" smtClean="0">
              <a:latin typeface="Arial" pitchFamily="34" charset="0"/>
              <a:cs typeface="Arial" pitchFamily="34" charset="0"/>
            </a:rPr>
            <a:t>в </a:t>
          </a:r>
          <a:r>
            <a:rPr lang="ru-RU" sz="900" b="1" dirty="0">
              <a:latin typeface="Arial" pitchFamily="34" charset="0"/>
              <a:cs typeface="Arial" pitchFamily="34" charset="0"/>
            </a:rPr>
            <a:t>мониторинге муниципальных отраслевых рынков </a:t>
          </a:r>
        </a:p>
      </dgm:t>
    </dgm:pt>
    <dgm:pt modelId="{E907F813-9F0F-416A-8D70-8F80749FB5F3}" type="parTrans" cxnId="{0D2EE062-8C18-450A-A9F3-C24F8CEEB27E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AC9FBF06-96F7-446E-966F-705088CAC49A}" type="sibTrans" cxnId="{0D2EE062-8C18-450A-A9F3-C24F8CEEB27E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CB9DC10F-047D-4FBE-982D-E087E9802CF3}">
      <dgm:prSet custT="1"/>
      <dgm:spPr>
        <a:solidFill>
          <a:srgbClr val="FFFF00"/>
        </a:solidFill>
      </dgm:spPr>
      <dgm:t>
        <a:bodyPr/>
        <a:lstStyle/>
        <a:p>
          <a:r>
            <a:rPr lang="ru-RU" sz="900" b="0" dirty="0">
              <a:latin typeface="Arial" pitchFamily="34" charset="0"/>
              <a:cs typeface="Arial" pitchFamily="34" charset="0"/>
            </a:rPr>
            <a:t>2.1.2. Участие в разработке </a:t>
          </a:r>
          <a:r>
            <a:rPr lang="ru-RU" sz="900" b="1" dirty="0" smtClean="0">
              <a:latin typeface="Arial" pitchFamily="34" charset="0"/>
              <a:cs typeface="Arial" pitchFamily="34" charset="0"/>
            </a:rPr>
            <a:t>механизмов </a:t>
          </a:r>
          <a:r>
            <a:rPr lang="ru-RU" sz="900" b="1" dirty="0">
              <a:latin typeface="Arial" pitchFamily="34" charset="0"/>
              <a:cs typeface="Arial" pitchFamily="34" charset="0"/>
            </a:rPr>
            <a:t>привлечения немуниципальных поставщиков  услуг                                     </a:t>
          </a:r>
          <a:r>
            <a:rPr lang="ru-RU" sz="900" b="0" dirty="0" smtClean="0">
              <a:latin typeface="Arial" pitchFamily="34" charset="0"/>
              <a:cs typeface="Arial" pitchFamily="34" charset="0"/>
            </a:rPr>
            <a:t>и создание благоприятного </a:t>
          </a:r>
          <a:r>
            <a:rPr lang="ru-RU" sz="900" b="1" dirty="0" smtClean="0">
              <a:latin typeface="Arial" pitchFamily="34" charset="0"/>
              <a:cs typeface="Arial" pitchFamily="34" charset="0"/>
            </a:rPr>
            <a:t>инвестиционного климата </a:t>
          </a:r>
          <a:endParaRPr lang="ru-RU" sz="900" b="1" dirty="0">
            <a:latin typeface="Arial" pitchFamily="34" charset="0"/>
            <a:cs typeface="Arial" pitchFamily="34" charset="0"/>
          </a:endParaRPr>
        </a:p>
      </dgm:t>
    </dgm:pt>
    <dgm:pt modelId="{5E16702E-094C-48AA-AA34-C6E9E038EEDB}" type="parTrans" cxnId="{A586527C-D508-4E5B-BEC3-A4050D73258D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226C0513-1B48-45AA-9B16-92C2982D9845}" type="sibTrans" cxnId="{A586527C-D508-4E5B-BEC3-A4050D73258D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A5F1F7B9-CC75-476F-A018-140FBC8300F0}">
      <dgm:prSet custT="1"/>
      <dgm:spPr>
        <a:solidFill>
          <a:srgbClr val="FFFF0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900" dirty="0" smtClean="0">
              <a:latin typeface="Arial" pitchFamily="34" charset="0"/>
              <a:cs typeface="Arial" pitchFamily="34" charset="0"/>
            </a:rPr>
            <a:t> 2.1.3. Участие в         реализации                     </a:t>
          </a:r>
          <a:r>
            <a:rPr lang="ru-RU" sz="900" b="1" dirty="0" smtClean="0">
              <a:latin typeface="Arial" pitchFamily="34" charset="0"/>
              <a:cs typeface="Arial" pitchFamily="34" charset="0"/>
            </a:rPr>
            <a:t>национальных (региональных) проектов </a:t>
          </a:r>
        </a:p>
        <a:p>
          <a:pPr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900" b="1" dirty="0">
            <a:latin typeface="Arial" pitchFamily="34" charset="0"/>
            <a:cs typeface="Arial" pitchFamily="34" charset="0"/>
          </a:endParaRPr>
        </a:p>
      </dgm:t>
    </dgm:pt>
    <dgm:pt modelId="{63FE7268-B863-414C-952C-B4AC4D4E25F8}" type="parTrans" cxnId="{028837F1-E17B-4910-9C2A-66074E0CD12E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62702C81-DB97-420B-A792-F0A1CC8B13D4}" type="sibTrans" cxnId="{028837F1-E17B-4910-9C2A-66074E0CD12E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06CBDC20-3314-4BAD-B250-3F17ABB6DCEB}">
      <dgm:prSet custT="1"/>
      <dgm:spPr/>
      <dgm:t>
        <a:bodyPr/>
        <a:lstStyle/>
        <a:p>
          <a:r>
            <a:rPr lang="ru-RU" sz="900" dirty="0">
              <a:latin typeface="Arial" pitchFamily="34" charset="0"/>
              <a:cs typeface="Arial" pitchFamily="34" charset="0"/>
            </a:rPr>
            <a:t>2.2.Участие </a:t>
          </a:r>
          <a:r>
            <a:rPr lang="ru-RU" sz="900" dirty="0" smtClean="0">
              <a:latin typeface="Arial" pitchFamily="34" charset="0"/>
              <a:cs typeface="Arial" pitchFamily="34" charset="0"/>
            </a:rPr>
            <a:t>                                          в Общественной палате,                     в Общественных советах                  при </a:t>
          </a:r>
          <a:r>
            <a:rPr lang="ru-RU" sz="900" dirty="0">
              <a:latin typeface="Arial" pitchFamily="34" charset="0"/>
              <a:cs typeface="Arial" pitchFamily="34" charset="0"/>
            </a:rPr>
            <a:t>органах местного </a:t>
          </a:r>
          <a:r>
            <a:rPr lang="ru-RU" sz="900" dirty="0" smtClean="0">
              <a:latin typeface="Arial" pitchFamily="34" charset="0"/>
              <a:cs typeface="Arial" pitchFamily="34" charset="0"/>
            </a:rPr>
            <a:t>самоуправления,                                       в реализации национальных проектов   </a:t>
          </a:r>
          <a:endParaRPr lang="ru-RU" sz="900" dirty="0">
            <a:latin typeface="Arial" pitchFamily="34" charset="0"/>
            <a:cs typeface="Arial" pitchFamily="34" charset="0"/>
          </a:endParaRPr>
        </a:p>
      </dgm:t>
    </dgm:pt>
    <dgm:pt modelId="{5D1FDABC-0297-4ECE-B1B3-203F523E145B}" type="parTrans" cxnId="{75EB7F4A-6AAA-4854-8446-C37269A24371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E70B5CA2-D0C0-46EC-8217-2EDDF7767FC1}" type="sibTrans" cxnId="{75EB7F4A-6AAA-4854-8446-C37269A24371}">
      <dgm:prSet/>
      <dgm:spPr/>
      <dgm:t>
        <a:bodyPr/>
        <a:lstStyle/>
        <a:p>
          <a:endParaRPr lang="ru-RU" sz="600">
            <a:latin typeface="Arial" pitchFamily="34" charset="0"/>
            <a:cs typeface="Arial" pitchFamily="34" charset="0"/>
          </a:endParaRPr>
        </a:p>
      </dgm:t>
    </dgm:pt>
    <dgm:pt modelId="{8084E76E-7BF2-4603-887E-8689347457F7}">
      <dgm:prSet custT="1"/>
      <dgm:spPr/>
      <dgm:t>
        <a:bodyPr/>
        <a:lstStyle/>
        <a:p>
          <a:r>
            <a:rPr lang="ru-RU" sz="900">
              <a:latin typeface="Arial" pitchFamily="34" charset="0"/>
              <a:cs typeface="Arial" pitchFamily="34" charset="0"/>
            </a:rPr>
            <a:t>2.3.Участие в экспертизах НПА</a:t>
          </a:r>
        </a:p>
      </dgm:t>
    </dgm:pt>
    <dgm:pt modelId="{9DD93C1C-9015-491D-AAD2-1BEDC0CE41AB}" type="parTrans" cxnId="{57E1D8DD-3A8E-452E-83C6-72028CBCAEE5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EC71EF3B-2CDF-4123-88E2-0BDC3A0E1DDD}" type="sibTrans" cxnId="{57E1D8DD-3A8E-452E-83C6-72028CBCAEE5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5FAF6FE3-0B28-45F8-8ECB-028FA8AB03F2}">
      <dgm:prSet custT="1"/>
      <dgm:spPr/>
      <dgm:t>
        <a:bodyPr/>
        <a:lstStyle/>
        <a:p>
          <a:r>
            <a:rPr lang="ru-RU" sz="900">
              <a:latin typeface="Arial" pitchFamily="34" charset="0"/>
              <a:cs typeface="Arial" pitchFamily="34" charset="0"/>
            </a:rPr>
            <a:t>2.3.1. Антикоррупционная экспертиза </a:t>
          </a:r>
        </a:p>
      </dgm:t>
    </dgm:pt>
    <dgm:pt modelId="{7045625E-452A-4B92-8507-3E4ACE2BC41C}" type="parTrans" cxnId="{BCCB4D4C-7CC1-45D6-A18E-99CC35FDF5AC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84E7847B-2C35-43AA-8707-EF5A340B87DC}" type="sibTrans" cxnId="{BCCB4D4C-7CC1-45D6-A18E-99CC35FDF5AC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80DDA64E-1E76-48BA-810C-D42F25E5E89E}">
      <dgm:prSet custT="1"/>
      <dgm:spPr/>
      <dgm:t>
        <a:bodyPr/>
        <a:lstStyle/>
        <a:p>
          <a:r>
            <a:rPr lang="ru-RU" sz="900" dirty="0">
              <a:latin typeface="Arial" pitchFamily="34" charset="0"/>
              <a:cs typeface="Arial" pitchFamily="34" charset="0"/>
            </a:rPr>
            <a:t>2.3.2. Оценка регулирующего воздействия </a:t>
          </a:r>
        </a:p>
      </dgm:t>
    </dgm:pt>
    <dgm:pt modelId="{5F6CB113-0041-4E7D-A743-B97229113E40}" type="parTrans" cxnId="{027792D0-1B5F-4216-BDC7-E398BF8FF4CE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B98EB2C2-5001-4999-ACCE-1ABD1DD56038}" type="sibTrans" cxnId="{027792D0-1B5F-4216-BDC7-E398BF8FF4CE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43274A95-5BEC-49BE-AEA3-6CAB2DE3E1F8}">
      <dgm:prSet custT="1"/>
      <dgm:spPr/>
      <dgm:t>
        <a:bodyPr/>
        <a:lstStyle/>
        <a:p>
          <a:r>
            <a:rPr lang="ru-RU" sz="900">
              <a:latin typeface="Arial" pitchFamily="34" charset="0"/>
              <a:cs typeface="Arial" pitchFamily="34" charset="0"/>
            </a:rPr>
            <a:t>2.3.3. Оценка фактического воздействия </a:t>
          </a:r>
        </a:p>
      </dgm:t>
    </dgm:pt>
    <dgm:pt modelId="{478EC617-DFB9-40FC-9AEB-46FC8A4239C7}" type="parTrans" cxnId="{C9D95C8C-15C6-452C-884F-B8654DDDB564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21F27AE1-9571-4DBE-BFA5-2B355FAC2C0A}" type="sibTrans" cxnId="{C9D95C8C-15C6-452C-884F-B8654DDDB564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A3C57F85-8C37-4B14-A927-C907EBD0A2C7}">
      <dgm:prSet custT="1"/>
      <dgm:spPr/>
      <dgm:t>
        <a:bodyPr/>
        <a:lstStyle/>
        <a:p>
          <a:r>
            <a:rPr lang="ru-RU" sz="900" dirty="0">
              <a:latin typeface="Arial" pitchFamily="34" charset="0"/>
              <a:cs typeface="Arial" pitchFamily="34" charset="0"/>
            </a:rPr>
            <a:t>2.3.4. </a:t>
          </a:r>
          <a:r>
            <a:rPr lang="ru-RU" sz="900" dirty="0" smtClean="0">
              <a:latin typeface="Arial" pitchFamily="34" charset="0"/>
              <a:cs typeface="Arial" pitchFamily="34" charset="0"/>
            </a:rPr>
            <a:t>Мониторинг состояния конкуренции  на приоритетных рынках </a:t>
          </a:r>
          <a:endParaRPr lang="ru-RU" sz="900" dirty="0">
            <a:latin typeface="Arial" pitchFamily="34" charset="0"/>
            <a:cs typeface="Arial" pitchFamily="34" charset="0"/>
          </a:endParaRPr>
        </a:p>
      </dgm:t>
    </dgm:pt>
    <dgm:pt modelId="{AFCB2457-F055-4EA2-BE02-EB89226143A6}" type="parTrans" cxnId="{6071E80E-B1DD-4E4A-B333-CEF0E9462E35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2432E501-42B3-4179-839C-ACD91FECB4FE}" type="sibTrans" cxnId="{6071E80E-B1DD-4E4A-B333-CEF0E9462E35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7AB7F7F0-D035-4C56-AEF3-98C8AF6A0D3B}">
      <dgm:prSet custT="1"/>
      <dgm:spPr>
        <a:solidFill>
          <a:schemeClr val="bg1"/>
        </a:solidFill>
      </dgm:spPr>
      <dgm:t>
        <a:bodyPr/>
        <a:lstStyle/>
        <a:p>
          <a:r>
            <a:rPr lang="ru-RU" sz="1000" dirty="0" smtClean="0">
              <a:latin typeface="Arial" pitchFamily="34" charset="0"/>
              <a:cs typeface="Arial" pitchFamily="34" charset="0"/>
            </a:rPr>
            <a:t>Общественная                          палата Хабаровска   как институт вовлечения населения в решение вопросов местного значения   </a:t>
          </a:r>
          <a:endParaRPr lang="ru-RU" sz="1000" dirty="0">
            <a:latin typeface="Arial" pitchFamily="34" charset="0"/>
            <a:cs typeface="Arial" pitchFamily="34" charset="0"/>
          </a:endParaRPr>
        </a:p>
      </dgm:t>
    </dgm:pt>
    <dgm:pt modelId="{3FF23D3B-BEA9-4D5A-A3F0-30CDD2BC4264}" type="parTrans" cxnId="{4B35E3A1-C720-48F0-BC8F-A6328EFB1C75}">
      <dgm:prSet/>
      <dgm:spPr/>
      <dgm:t>
        <a:bodyPr/>
        <a:lstStyle/>
        <a:p>
          <a:endParaRPr lang="ru-RU"/>
        </a:p>
      </dgm:t>
    </dgm:pt>
    <dgm:pt modelId="{3863AE24-8431-4F2B-B5AC-AE6F6A1989E1}" type="sibTrans" cxnId="{4B35E3A1-C720-48F0-BC8F-A6328EFB1C75}">
      <dgm:prSet/>
      <dgm:spPr/>
      <dgm:t>
        <a:bodyPr/>
        <a:lstStyle/>
        <a:p>
          <a:endParaRPr lang="ru-RU"/>
        </a:p>
      </dgm:t>
    </dgm:pt>
    <dgm:pt modelId="{DFA5052E-4BC3-4E4B-AE52-4335B2449227}">
      <dgm:prSet custT="1"/>
      <dgm:spPr/>
      <dgm:t>
        <a:bodyPr/>
        <a:lstStyle/>
        <a:p>
          <a:r>
            <a:rPr lang="ru-RU" sz="900" dirty="0" smtClean="0">
              <a:latin typeface="Arial" pitchFamily="34" charset="0"/>
              <a:cs typeface="Arial" pitchFamily="34" charset="0"/>
            </a:rPr>
            <a:t>1.3. Внедрение в школах курса «</a:t>
          </a:r>
          <a:r>
            <a:rPr lang="ru-RU" sz="900" b="1" dirty="0" smtClean="0">
              <a:latin typeface="Arial" pitchFamily="34" charset="0"/>
              <a:cs typeface="Arial" pitchFamily="34" charset="0"/>
            </a:rPr>
            <a:t>Основы </a:t>
          </a:r>
          <a:r>
            <a:rPr lang="ru-RU" sz="900" b="1" dirty="0" err="1" smtClean="0">
              <a:latin typeface="Arial" pitchFamily="34" charset="0"/>
              <a:cs typeface="Arial" pitchFamily="34" charset="0"/>
            </a:rPr>
            <a:t>самозанятости</a:t>
          </a:r>
          <a:r>
            <a:rPr lang="ru-RU" sz="900" b="1" dirty="0" smtClean="0">
              <a:latin typeface="Arial" pitchFamily="34" charset="0"/>
              <a:cs typeface="Arial" pitchFamily="34" charset="0"/>
            </a:rPr>
            <a:t> и предпринимательства» </a:t>
          </a:r>
          <a:r>
            <a:rPr lang="ru-RU" sz="900" dirty="0" smtClean="0">
              <a:latin typeface="Arial" pitchFamily="34" charset="0"/>
              <a:cs typeface="Arial" pitchFamily="34" charset="0"/>
            </a:rPr>
            <a:t>с разработкой проектов, направленных на оказание </a:t>
          </a:r>
          <a:r>
            <a:rPr lang="ru-RU" sz="900" dirty="0" err="1" smtClean="0">
              <a:latin typeface="Arial" pitchFamily="34" charset="0"/>
              <a:cs typeface="Arial" pitchFamily="34" charset="0"/>
            </a:rPr>
            <a:t>мун</a:t>
          </a:r>
          <a:r>
            <a:rPr lang="ru-RU" sz="900" dirty="0" smtClean="0">
              <a:latin typeface="Arial" pitchFamily="34" charset="0"/>
              <a:cs typeface="Arial" pitchFamily="34" charset="0"/>
            </a:rPr>
            <a:t>. бюджетных услуг </a:t>
          </a:r>
          <a:endParaRPr lang="ru-RU" sz="900" dirty="0">
            <a:latin typeface="Arial" pitchFamily="34" charset="0"/>
            <a:cs typeface="Arial" pitchFamily="34" charset="0"/>
          </a:endParaRPr>
        </a:p>
      </dgm:t>
    </dgm:pt>
    <dgm:pt modelId="{FE4DD4B9-B21A-4D35-A48A-B3BDE10CD809}" type="parTrans" cxnId="{7D33DB75-A925-43BC-BD0C-1E8F6207AA3C}">
      <dgm:prSet/>
      <dgm:spPr/>
      <dgm:t>
        <a:bodyPr/>
        <a:lstStyle/>
        <a:p>
          <a:endParaRPr lang="ru-RU"/>
        </a:p>
      </dgm:t>
    </dgm:pt>
    <dgm:pt modelId="{01F4C7B3-9966-4B44-9693-C98F8EA140CA}" type="sibTrans" cxnId="{7D33DB75-A925-43BC-BD0C-1E8F6207AA3C}">
      <dgm:prSet/>
      <dgm:spPr/>
      <dgm:t>
        <a:bodyPr/>
        <a:lstStyle/>
        <a:p>
          <a:endParaRPr lang="ru-RU"/>
        </a:p>
      </dgm:t>
    </dgm:pt>
    <dgm:pt modelId="{27F3512E-97B6-4B70-ADEF-12E963EF193D}" type="pres">
      <dgm:prSet presAssocID="{EE401D0D-2F7F-405E-9667-940BC8DC191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595EFA8D-7FBD-475D-96E7-53183669C42E}" type="pres">
      <dgm:prSet presAssocID="{1F6C68FA-5CBA-46BF-8A79-C41AA41BE888}" presName="hierRoot1" presStyleCnt="0">
        <dgm:presLayoutVars>
          <dgm:hierBranch val="init"/>
        </dgm:presLayoutVars>
      </dgm:prSet>
      <dgm:spPr/>
    </dgm:pt>
    <dgm:pt modelId="{D27E3A4A-BC7B-4D70-BDD9-C6B6DEC8A163}" type="pres">
      <dgm:prSet presAssocID="{1F6C68FA-5CBA-46BF-8A79-C41AA41BE888}" presName="rootComposite1" presStyleCnt="0"/>
      <dgm:spPr/>
    </dgm:pt>
    <dgm:pt modelId="{415DDE58-48C4-452A-ADC7-B4B7B993DADF}" type="pres">
      <dgm:prSet presAssocID="{1F6C68FA-5CBA-46BF-8A79-C41AA41BE888}" presName="rootText1" presStyleLbl="node0" presStyleIdx="0" presStyleCnt="1" custScaleX="518408" custScaleY="59251" custLinFactNeighborX="5282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CCD8CF0-D3C2-46E3-99BA-A3BC11955E48}" type="pres">
      <dgm:prSet presAssocID="{1F6C68FA-5CBA-46BF-8A79-C41AA41BE888}" presName="rootConnector1" presStyleLbl="node1" presStyleIdx="0" presStyleCnt="0"/>
      <dgm:spPr/>
      <dgm:t>
        <a:bodyPr/>
        <a:lstStyle/>
        <a:p>
          <a:endParaRPr lang="ru-RU"/>
        </a:p>
      </dgm:t>
    </dgm:pt>
    <dgm:pt modelId="{BD534469-C637-4DBE-8FE1-EAA1B9EE9534}" type="pres">
      <dgm:prSet presAssocID="{1F6C68FA-5CBA-46BF-8A79-C41AA41BE888}" presName="hierChild2" presStyleCnt="0"/>
      <dgm:spPr/>
    </dgm:pt>
    <dgm:pt modelId="{5C36683C-C111-4075-9B90-E213532C7A20}" type="pres">
      <dgm:prSet presAssocID="{0EBBD495-9F85-4016-ABAC-BCC57956B02B}" presName="Name37" presStyleLbl="parChTrans1D2" presStyleIdx="0" presStyleCnt="2"/>
      <dgm:spPr/>
      <dgm:t>
        <a:bodyPr/>
        <a:lstStyle/>
        <a:p>
          <a:endParaRPr lang="ru-RU"/>
        </a:p>
      </dgm:t>
    </dgm:pt>
    <dgm:pt modelId="{AEB31B73-89DE-4D62-8E38-B6F167D6E3D6}" type="pres">
      <dgm:prSet presAssocID="{FC17A2F6-58DE-4491-9F16-D47327FC2581}" presName="hierRoot2" presStyleCnt="0">
        <dgm:presLayoutVars>
          <dgm:hierBranch val="r"/>
        </dgm:presLayoutVars>
      </dgm:prSet>
      <dgm:spPr/>
    </dgm:pt>
    <dgm:pt modelId="{598BC223-A17F-4909-9F3A-A52CE931001E}" type="pres">
      <dgm:prSet presAssocID="{FC17A2F6-58DE-4491-9F16-D47327FC2581}" presName="rootComposite" presStyleCnt="0"/>
      <dgm:spPr/>
    </dgm:pt>
    <dgm:pt modelId="{0FDA9043-037C-4EB1-A2EA-9DC85E3BCD99}" type="pres">
      <dgm:prSet presAssocID="{FC17A2F6-58DE-4491-9F16-D47327FC2581}" presName="rootText" presStyleLbl="node2" presStyleIdx="0" presStyleCnt="2" custScaleX="155165" custScaleY="5128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33D08484-E662-46B1-AE3B-C75E0027D878}" type="pres">
      <dgm:prSet presAssocID="{FC17A2F6-58DE-4491-9F16-D47327FC2581}" presName="rootConnector" presStyleLbl="node2" presStyleIdx="0" presStyleCnt="2"/>
      <dgm:spPr/>
      <dgm:t>
        <a:bodyPr/>
        <a:lstStyle/>
        <a:p>
          <a:endParaRPr lang="ru-RU"/>
        </a:p>
      </dgm:t>
    </dgm:pt>
    <dgm:pt modelId="{F94A58EF-DD23-430A-96E0-EC182276C7BD}" type="pres">
      <dgm:prSet presAssocID="{FC17A2F6-58DE-4491-9F16-D47327FC2581}" presName="hierChild4" presStyleCnt="0"/>
      <dgm:spPr/>
    </dgm:pt>
    <dgm:pt modelId="{2274846C-962C-4751-9752-B29775330646}" type="pres">
      <dgm:prSet presAssocID="{7863B1B1-D4FA-4B1E-9C5B-3B2B39C3CA85}" presName="Name50" presStyleLbl="parChTrans1D3" presStyleIdx="0" presStyleCnt="6"/>
      <dgm:spPr/>
      <dgm:t>
        <a:bodyPr/>
        <a:lstStyle/>
        <a:p>
          <a:endParaRPr lang="ru-RU"/>
        </a:p>
      </dgm:t>
    </dgm:pt>
    <dgm:pt modelId="{5EBC65CE-2C1F-48F6-BBA5-4F714AA30DE9}" type="pres">
      <dgm:prSet presAssocID="{B2E61E23-A43B-4021-AD01-36C674F2FFC3}" presName="hierRoot2" presStyleCnt="0">
        <dgm:presLayoutVars>
          <dgm:hierBranch val="init"/>
        </dgm:presLayoutVars>
      </dgm:prSet>
      <dgm:spPr/>
    </dgm:pt>
    <dgm:pt modelId="{596818CD-3B39-4D9F-9A11-664BD4A34DB4}" type="pres">
      <dgm:prSet presAssocID="{B2E61E23-A43B-4021-AD01-36C674F2FFC3}" presName="rootComposite" presStyleCnt="0"/>
      <dgm:spPr/>
    </dgm:pt>
    <dgm:pt modelId="{ED876576-1F35-4A4E-A2CB-D0294CA23E7D}" type="pres">
      <dgm:prSet presAssocID="{B2E61E23-A43B-4021-AD01-36C674F2FFC3}" presName="rootText" presStyleLbl="node3" presStyleIdx="0" presStyleCnt="6" custScaleX="108640" custScaleY="103946" custLinFactNeighborX="1075" custLinFactNeighborY="-1391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880F3FF-A827-41E9-BACA-75230AFA5C9B}" type="pres">
      <dgm:prSet presAssocID="{B2E61E23-A43B-4021-AD01-36C674F2FFC3}" presName="rootConnector" presStyleLbl="node3" presStyleIdx="0" presStyleCnt="6"/>
      <dgm:spPr/>
      <dgm:t>
        <a:bodyPr/>
        <a:lstStyle/>
        <a:p>
          <a:endParaRPr lang="ru-RU"/>
        </a:p>
      </dgm:t>
    </dgm:pt>
    <dgm:pt modelId="{74BE2A17-58F1-4FD8-A4F4-C345E393426C}" type="pres">
      <dgm:prSet presAssocID="{B2E61E23-A43B-4021-AD01-36C674F2FFC3}" presName="hierChild4" presStyleCnt="0"/>
      <dgm:spPr/>
    </dgm:pt>
    <dgm:pt modelId="{9A483061-DA36-48B9-8B92-82D38C5074B5}" type="pres">
      <dgm:prSet presAssocID="{B2E61E23-A43B-4021-AD01-36C674F2FFC3}" presName="hierChild5" presStyleCnt="0"/>
      <dgm:spPr/>
    </dgm:pt>
    <dgm:pt modelId="{FCD552C0-2B34-4453-9D15-FF4C0B487E1C}" type="pres">
      <dgm:prSet presAssocID="{D6C491CC-1D6C-463D-8809-978C8AC96E0C}" presName="Name50" presStyleLbl="parChTrans1D3" presStyleIdx="1" presStyleCnt="6"/>
      <dgm:spPr/>
      <dgm:t>
        <a:bodyPr/>
        <a:lstStyle/>
        <a:p>
          <a:endParaRPr lang="ru-RU"/>
        </a:p>
      </dgm:t>
    </dgm:pt>
    <dgm:pt modelId="{87294AD8-9C6E-46B8-A451-F805C37BF285}" type="pres">
      <dgm:prSet presAssocID="{B01DB9BA-03AD-4258-85BA-8999C1CE3499}" presName="hierRoot2" presStyleCnt="0">
        <dgm:presLayoutVars>
          <dgm:hierBranch val="init"/>
        </dgm:presLayoutVars>
      </dgm:prSet>
      <dgm:spPr/>
    </dgm:pt>
    <dgm:pt modelId="{CE327C03-609B-4305-B746-A087EF06B73D}" type="pres">
      <dgm:prSet presAssocID="{B01DB9BA-03AD-4258-85BA-8999C1CE3499}" presName="rootComposite" presStyleCnt="0"/>
      <dgm:spPr/>
    </dgm:pt>
    <dgm:pt modelId="{B665094A-E056-45C1-8241-08CF539DF9F6}" type="pres">
      <dgm:prSet presAssocID="{B01DB9BA-03AD-4258-85BA-8999C1CE3499}" presName="rootText" presStyleLbl="node3" presStyleIdx="1" presStyleCnt="6" custScaleX="110386" custScaleY="179401" custLinFactNeighborX="-716" custLinFactNeighborY="-2771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F9B4309-1D15-4B13-A3AB-352F9A2FDB07}" type="pres">
      <dgm:prSet presAssocID="{B01DB9BA-03AD-4258-85BA-8999C1CE3499}" presName="rootConnector" presStyleLbl="node3" presStyleIdx="1" presStyleCnt="6"/>
      <dgm:spPr/>
      <dgm:t>
        <a:bodyPr/>
        <a:lstStyle/>
        <a:p>
          <a:endParaRPr lang="ru-RU"/>
        </a:p>
      </dgm:t>
    </dgm:pt>
    <dgm:pt modelId="{B6C4DEB9-490D-4BE0-AC81-8610F1EF6BA5}" type="pres">
      <dgm:prSet presAssocID="{B01DB9BA-03AD-4258-85BA-8999C1CE3499}" presName="hierChild4" presStyleCnt="0"/>
      <dgm:spPr/>
    </dgm:pt>
    <dgm:pt modelId="{D37ED676-711B-4B08-A614-97F253B9B3BA}" type="pres">
      <dgm:prSet presAssocID="{B01DB9BA-03AD-4258-85BA-8999C1CE3499}" presName="hierChild5" presStyleCnt="0"/>
      <dgm:spPr/>
    </dgm:pt>
    <dgm:pt modelId="{60A1D20B-8B13-4EED-B870-F01ED3536DB5}" type="pres">
      <dgm:prSet presAssocID="{FE4DD4B9-B21A-4D35-A48A-B3BDE10CD809}" presName="Name50" presStyleLbl="parChTrans1D3" presStyleIdx="2" presStyleCnt="6"/>
      <dgm:spPr/>
      <dgm:t>
        <a:bodyPr/>
        <a:lstStyle/>
        <a:p>
          <a:endParaRPr lang="ru-RU"/>
        </a:p>
      </dgm:t>
    </dgm:pt>
    <dgm:pt modelId="{1CCA6E75-D251-49CE-B4BA-2E54F0AB33F3}" type="pres">
      <dgm:prSet presAssocID="{DFA5052E-4BC3-4E4B-AE52-4335B2449227}" presName="hierRoot2" presStyleCnt="0">
        <dgm:presLayoutVars>
          <dgm:hierBranch val="init"/>
        </dgm:presLayoutVars>
      </dgm:prSet>
      <dgm:spPr/>
    </dgm:pt>
    <dgm:pt modelId="{79DC61F5-8555-4E44-A681-2880D9479DBF}" type="pres">
      <dgm:prSet presAssocID="{DFA5052E-4BC3-4E4B-AE52-4335B2449227}" presName="rootComposite" presStyleCnt="0"/>
      <dgm:spPr/>
    </dgm:pt>
    <dgm:pt modelId="{4E1C9AE2-EA98-4192-B837-63489AAF2646}" type="pres">
      <dgm:prSet presAssocID="{DFA5052E-4BC3-4E4B-AE52-4335B2449227}" presName="rootText" presStyleLbl="node3" presStyleIdx="2" presStyleCnt="6" custScaleX="114910" custScaleY="123629" custLinFactNeighborY="-4404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088E948-ACDE-4B59-B45C-18B7CDCAA3D0}" type="pres">
      <dgm:prSet presAssocID="{DFA5052E-4BC3-4E4B-AE52-4335B2449227}" presName="rootConnector" presStyleLbl="node3" presStyleIdx="2" presStyleCnt="6"/>
      <dgm:spPr/>
      <dgm:t>
        <a:bodyPr/>
        <a:lstStyle/>
        <a:p>
          <a:endParaRPr lang="ru-RU"/>
        </a:p>
      </dgm:t>
    </dgm:pt>
    <dgm:pt modelId="{9BF9694F-6B5A-47EF-881C-A21846A28C5C}" type="pres">
      <dgm:prSet presAssocID="{DFA5052E-4BC3-4E4B-AE52-4335B2449227}" presName="hierChild4" presStyleCnt="0"/>
      <dgm:spPr/>
    </dgm:pt>
    <dgm:pt modelId="{11CCDC36-2D08-46C7-B1E4-B8455E692BA4}" type="pres">
      <dgm:prSet presAssocID="{DFA5052E-4BC3-4E4B-AE52-4335B2449227}" presName="hierChild5" presStyleCnt="0"/>
      <dgm:spPr/>
    </dgm:pt>
    <dgm:pt modelId="{5ED99762-BC96-4FF0-A3F8-D072E50A4F21}" type="pres">
      <dgm:prSet presAssocID="{FC17A2F6-58DE-4491-9F16-D47327FC2581}" presName="hierChild5" presStyleCnt="0"/>
      <dgm:spPr/>
    </dgm:pt>
    <dgm:pt modelId="{2818AB3B-5CD0-47BF-803F-82271AD4BCCA}" type="pres">
      <dgm:prSet presAssocID="{A6022F16-645F-47CE-8AFE-D3B3E786A4E4}" presName="Name37" presStyleLbl="parChTrans1D2" presStyleIdx="1" presStyleCnt="2"/>
      <dgm:spPr/>
      <dgm:t>
        <a:bodyPr/>
        <a:lstStyle/>
        <a:p>
          <a:endParaRPr lang="ru-RU"/>
        </a:p>
      </dgm:t>
    </dgm:pt>
    <dgm:pt modelId="{356CDEDD-FA43-4140-9FE2-9150EF49E741}" type="pres">
      <dgm:prSet presAssocID="{56E70703-65E9-429F-BB7D-BC75BDDBBFC7}" presName="hierRoot2" presStyleCnt="0">
        <dgm:presLayoutVars>
          <dgm:hierBranch/>
        </dgm:presLayoutVars>
      </dgm:prSet>
      <dgm:spPr/>
    </dgm:pt>
    <dgm:pt modelId="{92BAB0AE-5701-4DBA-B888-C627146B8A06}" type="pres">
      <dgm:prSet presAssocID="{56E70703-65E9-429F-BB7D-BC75BDDBBFC7}" presName="rootComposite" presStyleCnt="0"/>
      <dgm:spPr/>
    </dgm:pt>
    <dgm:pt modelId="{8DFCB912-7AD4-4242-BCFF-6B315BFED99D}" type="pres">
      <dgm:prSet presAssocID="{56E70703-65E9-429F-BB7D-BC75BDDBBFC7}" presName="rootText" presStyleLbl="node2" presStyleIdx="1" presStyleCnt="2" custScaleX="278668" custScaleY="52268" custLinFactNeighborX="283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044256E-92EF-442C-8EF0-D9C5B801BC35}" type="pres">
      <dgm:prSet presAssocID="{56E70703-65E9-429F-BB7D-BC75BDDBBFC7}" presName="rootConnector" presStyleLbl="node2" presStyleIdx="1" presStyleCnt="2"/>
      <dgm:spPr/>
      <dgm:t>
        <a:bodyPr/>
        <a:lstStyle/>
        <a:p>
          <a:endParaRPr lang="ru-RU"/>
        </a:p>
      </dgm:t>
    </dgm:pt>
    <dgm:pt modelId="{545F509C-1461-432B-86AC-E5E4B74ECE7B}" type="pres">
      <dgm:prSet presAssocID="{56E70703-65E9-429F-BB7D-BC75BDDBBFC7}" presName="hierChild4" presStyleCnt="0"/>
      <dgm:spPr/>
    </dgm:pt>
    <dgm:pt modelId="{63D24F00-67D9-47B3-AF54-38E11457098F}" type="pres">
      <dgm:prSet presAssocID="{2E04E8D2-126D-4CF8-A485-FD430873F760}" presName="Name35" presStyleLbl="parChTrans1D3" presStyleIdx="3" presStyleCnt="6"/>
      <dgm:spPr/>
      <dgm:t>
        <a:bodyPr/>
        <a:lstStyle/>
        <a:p>
          <a:endParaRPr lang="ru-RU"/>
        </a:p>
      </dgm:t>
    </dgm:pt>
    <dgm:pt modelId="{0554A89B-62A2-4742-BA0C-44840D488017}" type="pres">
      <dgm:prSet presAssocID="{01C25A0B-6157-4BE6-8CCB-03643908807B}" presName="hierRoot2" presStyleCnt="0">
        <dgm:presLayoutVars>
          <dgm:hierBranch val="r"/>
        </dgm:presLayoutVars>
      </dgm:prSet>
      <dgm:spPr/>
    </dgm:pt>
    <dgm:pt modelId="{8FB8650D-D77B-4805-83AD-1B36F0B69159}" type="pres">
      <dgm:prSet presAssocID="{01C25A0B-6157-4BE6-8CCB-03643908807B}" presName="rootComposite" presStyleCnt="0"/>
      <dgm:spPr/>
    </dgm:pt>
    <dgm:pt modelId="{FBB50CC8-A842-4167-B60F-261A60F758A5}" type="pres">
      <dgm:prSet presAssocID="{01C25A0B-6157-4BE6-8CCB-03643908807B}" presName="rootText" presStyleLbl="node3" presStyleIdx="3" presStyleCnt="6" custScaleX="115674" custScaleY="61935" custLinFactNeighborX="418" custLinFactNeighborY="39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EA38CB9-A56F-445E-858D-06A1169D3476}" type="pres">
      <dgm:prSet presAssocID="{01C25A0B-6157-4BE6-8CCB-03643908807B}" presName="rootConnector" presStyleLbl="node3" presStyleIdx="3" presStyleCnt="6"/>
      <dgm:spPr/>
      <dgm:t>
        <a:bodyPr/>
        <a:lstStyle/>
        <a:p>
          <a:endParaRPr lang="ru-RU"/>
        </a:p>
      </dgm:t>
    </dgm:pt>
    <dgm:pt modelId="{59BABAC9-06FC-489D-92F7-0BC2E0ABC615}" type="pres">
      <dgm:prSet presAssocID="{01C25A0B-6157-4BE6-8CCB-03643908807B}" presName="hierChild4" presStyleCnt="0"/>
      <dgm:spPr/>
    </dgm:pt>
    <dgm:pt modelId="{2BD29D9B-B9F9-4FDD-A6DA-7142CAB7B036}" type="pres">
      <dgm:prSet presAssocID="{E907F813-9F0F-416A-8D70-8F80749FB5F3}" presName="Name50" presStyleLbl="parChTrans1D4" presStyleIdx="0" presStyleCnt="8"/>
      <dgm:spPr/>
      <dgm:t>
        <a:bodyPr/>
        <a:lstStyle/>
        <a:p>
          <a:endParaRPr lang="ru-RU"/>
        </a:p>
      </dgm:t>
    </dgm:pt>
    <dgm:pt modelId="{C921FA89-F467-4B6F-9621-45761A0125AB}" type="pres">
      <dgm:prSet presAssocID="{38B1DE61-64DD-4A5A-A36B-DFB00B42786B}" presName="hierRoot2" presStyleCnt="0">
        <dgm:presLayoutVars>
          <dgm:hierBranch val="init"/>
        </dgm:presLayoutVars>
      </dgm:prSet>
      <dgm:spPr/>
    </dgm:pt>
    <dgm:pt modelId="{F8665103-887A-49B8-8D96-BE7B494900A4}" type="pres">
      <dgm:prSet presAssocID="{38B1DE61-64DD-4A5A-A36B-DFB00B42786B}" presName="rootComposite" presStyleCnt="0"/>
      <dgm:spPr/>
    </dgm:pt>
    <dgm:pt modelId="{9A6AAE14-9DDA-46C9-A371-B89BF76DE94A}" type="pres">
      <dgm:prSet presAssocID="{38B1DE61-64DD-4A5A-A36B-DFB00B42786B}" presName="rootText" presStyleLbl="node4" presStyleIdx="0" presStyleCnt="8" custScaleX="109716" custScaleY="7798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B134EE7-80DE-4F68-AB9D-42A71E1929CE}" type="pres">
      <dgm:prSet presAssocID="{38B1DE61-64DD-4A5A-A36B-DFB00B42786B}" presName="rootConnector" presStyleLbl="node4" presStyleIdx="0" presStyleCnt="8"/>
      <dgm:spPr/>
      <dgm:t>
        <a:bodyPr/>
        <a:lstStyle/>
        <a:p>
          <a:endParaRPr lang="ru-RU"/>
        </a:p>
      </dgm:t>
    </dgm:pt>
    <dgm:pt modelId="{6E2C320B-82FA-4BA5-9D24-B25705BD4CD2}" type="pres">
      <dgm:prSet presAssocID="{38B1DE61-64DD-4A5A-A36B-DFB00B42786B}" presName="hierChild4" presStyleCnt="0"/>
      <dgm:spPr/>
    </dgm:pt>
    <dgm:pt modelId="{EDD711FC-97BE-4D1D-8271-36833250EE03}" type="pres">
      <dgm:prSet presAssocID="{38B1DE61-64DD-4A5A-A36B-DFB00B42786B}" presName="hierChild5" presStyleCnt="0"/>
      <dgm:spPr/>
    </dgm:pt>
    <dgm:pt modelId="{229E0324-D00C-43DC-8CCD-7694140EA8BE}" type="pres">
      <dgm:prSet presAssocID="{5E16702E-094C-48AA-AA34-C6E9E038EEDB}" presName="Name50" presStyleLbl="parChTrans1D4" presStyleIdx="1" presStyleCnt="8"/>
      <dgm:spPr/>
      <dgm:t>
        <a:bodyPr/>
        <a:lstStyle/>
        <a:p>
          <a:endParaRPr lang="ru-RU"/>
        </a:p>
      </dgm:t>
    </dgm:pt>
    <dgm:pt modelId="{C36BE388-98E9-4F3E-8524-4FE044EF4171}" type="pres">
      <dgm:prSet presAssocID="{CB9DC10F-047D-4FBE-982D-E087E9802CF3}" presName="hierRoot2" presStyleCnt="0">
        <dgm:presLayoutVars>
          <dgm:hierBranch val="init"/>
        </dgm:presLayoutVars>
      </dgm:prSet>
      <dgm:spPr/>
    </dgm:pt>
    <dgm:pt modelId="{4CB72AB3-A916-4BF4-9CBB-554A17AD068E}" type="pres">
      <dgm:prSet presAssocID="{CB9DC10F-047D-4FBE-982D-E087E9802CF3}" presName="rootComposite" presStyleCnt="0"/>
      <dgm:spPr/>
    </dgm:pt>
    <dgm:pt modelId="{F0169B50-5D09-4E4D-8580-961F9FEFE071}" type="pres">
      <dgm:prSet presAssocID="{CB9DC10F-047D-4FBE-982D-E087E9802CF3}" presName="rootText" presStyleLbl="node4" presStyleIdx="1" presStyleCnt="8" custScaleX="109716" custScaleY="125202" custLinFactNeighborY="-2339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DE09A34-229E-4B26-A511-4120F60DC51A}" type="pres">
      <dgm:prSet presAssocID="{CB9DC10F-047D-4FBE-982D-E087E9802CF3}" presName="rootConnector" presStyleLbl="node4" presStyleIdx="1" presStyleCnt="8"/>
      <dgm:spPr/>
      <dgm:t>
        <a:bodyPr/>
        <a:lstStyle/>
        <a:p>
          <a:endParaRPr lang="ru-RU"/>
        </a:p>
      </dgm:t>
    </dgm:pt>
    <dgm:pt modelId="{878C2C47-966A-466B-A5E1-BB96D39CD1DF}" type="pres">
      <dgm:prSet presAssocID="{CB9DC10F-047D-4FBE-982D-E087E9802CF3}" presName="hierChild4" presStyleCnt="0"/>
      <dgm:spPr/>
    </dgm:pt>
    <dgm:pt modelId="{2628971C-07B1-4E9B-98E1-2FE07D2D1A20}" type="pres">
      <dgm:prSet presAssocID="{CB9DC10F-047D-4FBE-982D-E087E9802CF3}" presName="hierChild5" presStyleCnt="0"/>
      <dgm:spPr/>
    </dgm:pt>
    <dgm:pt modelId="{BCB688BA-D31E-4E1B-BC9C-E7EE5B0F5AC5}" type="pres">
      <dgm:prSet presAssocID="{63FE7268-B863-414C-952C-B4AC4D4E25F8}" presName="Name50" presStyleLbl="parChTrans1D4" presStyleIdx="2" presStyleCnt="8"/>
      <dgm:spPr/>
      <dgm:t>
        <a:bodyPr/>
        <a:lstStyle/>
        <a:p>
          <a:endParaRPr lang="ru-RU"/>
        </a:p>
      </dgm:t>
    </dgm:pt>
    <dgm:pt modelId="{2AD3AC8C-41B1-4C8E-A350-77A3E5504F72}" type="pres">
      <dgm:prSet presAssocID="{A5F1F7B9-CC75-476F-A018-140FBC8300F0}" presName="hierRoot2" presStyleCnt="0">
        <dgm:presLayoutVars>
          <dgm:hierBranch val="init"/>
        </dgm:presLayoutVars>
      </dgm:prSet>
      <dgm:spPr/>
    </dgm:pt>
    <dgm:pt modelId="{9932E11C-CC6E-47EB-92C8-59E7E7E8247B}" type="pres">
      <dgm:prSet presAssocID="{A5F1F7B9-CC75-476F-A018-140FBC8300F0}" presName="rootComposite" presStyleCnt="0"/>
      <dgm:spPr/>
    </dgm:pt>
    <dgm:pt modelId="{EF9E14AC-CF93-4143-B5F9-C8688A49327A}" type="pres">
      <dgm:prSet presAssocID="{A5F1F7B9-CC75-476F-A018-140FBC8300F0}" presName="rootText" presStyleLbl="node4" presStyleIdx="2" presStyleCnt="8" custScaleX="109716" custScaleY="112364" custLinFactNeighborY="-4843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99B85B7-0166-4011-8D0D-A96BF15D1E8E}" type="pres">
      <dgm:prSet presAssocID="{A5F1F7B9-CC75-476F-A018-140FBC8300F0}" presName="rootConnector" presStyleLbl="node4" presStyleIdx="2" presStyleCnt="8"/>
      <dgm:spPr/>
      <dgm:t>
        <a:bodyPr/>
        <a:lstStyle/>
        <a:p>
          <a:endParaRPr lang="ru-RU"/>
        </a:p>
      </dgm:t>
    </dgm:pt>
    <dgm:pt modelId="{9FC1CBDD-5DD5-445D-AE43-2D0891C4FE18}" type="pres">
      <dgm:prSet presAssocID="{A5F1F7B9-CC75-476F-A018-140FBC8300F0}" presName="hierChild4" presStyleCnt="0"/>
      <dgm:spPr/>
    </dgm:pt>
    <dgm:pt modelId="{175B4CF2-8B20-4EDB-ABFF-CD4010201367}" type="pres">
      <dgm:prSet presAssocID="{A5F1F7B9-CC75-476F-A018-140FBC8300F0}" presName="hierChild5" presStyleCnt="0"/>
      <dgm:spPr/>
    </dgm:pt>
    <dgm:pt modelId="{E4D9623E-9F7D-4353-9218-7D1BE32B22C5}" type="pres">
      <dgm:prSet presAssocID="{01C25A0B-6157-4BE6-8CCB-03643908807B}" presName="hierChild5" presStyleCnt="0"/>
      <dgm:spPr/>
    </dgm:pt>
    <dgm:pt modelId="{1C313B8D-2E99-4939-B8B8-B590204F0228}" type="pres">
      <dgm:prSet presAssocID="{5D1FDABC-0297-4ECE-B1B3-203F523E145B}" presName="Name35" presStyleLbl="parChTrans1D3" presStyleIdx="4" presStyleCnt="6"/>
      <dgm:spPr/>
      <dgm:t>
        <a:bodyPr/>
        <a:lstStyle/>
        <a:p>
          <a:endParaRPr lang="ru-RU"/>
        </a:p>
      </dgm:t>
    </dgm:pt>
    <dgm:pt modelId="{A38AFF52-5178-4446-B99E-F08901FCB428}" type="pres">
      <dgm:prSet presAssocID="{06CBDC20-3314-4BAD-B250-3F17ABB6DCEB}" presName="hierRoot2" presStyleCnt="0">
        <dgm:presLayoutVars>
          <dgm:hierBranch val="r"/>
        </dgm:presLayoutVars>
      </dgm:prSet>
      <dgm:spPr/>
    </dgm:pt>
    <dgm:pt modelId="{92F717F1-5001-423B-BFD6-37BA3FB94CF8}" type="pres">
      <dgm:prSet presAssocID="{06CBDC20-3314-4BAD-B250-3F17ABB6DCEB}" presName="rootComposite" presStyleCnt="0"/>
      <dgm:spPr/>
    </dgm:pt>
    <dgm:pt modelId="{BCB8FB69-5B57-4493-8AF3-AE76DA5580AA}" type="pres">
      <dgm:prSet presAssocID="{06CBDC20-3314-4BAD-B250-3F17ABB6DCEB}" presName="rootText" presStyleLbl="node3" presStyleIdx="4" presStyleCnt="6" custScaleX="122980" custScaleY="13620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49BA842-0F4B-4423-8379-2651A5A0F380}" type="pres">
      <dgm:prSet presAssocID="{06CBDC20-3314-4BAD-B250-3F17ABB6DCEB}" presName="rootConnector" presStyleLbl="node3" presStyleIdx="4" presStyleCnt="6"/>
      <dgm:spPr/>
      <dgm:t>
        <a:bodyPr/>
        <a:lstStyle/>
        <a:p>
          <a:endParaRPr lang="ru-RU"/>
        </a:p>
      </dgm:t>
    </dgm:pt>
    <dgm:pt modelId="{DA45BE7A-2750-4E13-813D-01E605C84EF3}" type="pres">
      <dgm:prSet presAssocID="{06CBDC20-3314-4BAD-B250-3F17ABB6DCEB}" presName="hierChild4" presStyleCnt="0"/>
      <dgm:spPr/>
    </dgm:pt>
    <dgm:pt modelId="{6FCB83C5-096F-4BA5-B5A5-816431EE427C}" type="pres">
      <dgm:prSet presAssocID="{3FF23D3B-BEA9-4D5A-A3F0-30CDD2BC4264}" presName="Name50" presStyleLbl="parChTrans1D4" presStyleIdx="3" presStyleCnt="8"/>
      <dgm:spPr/>
      <dgm:t>
        <a:bodyPr/>
        <a:lstStyle/>
        <a:p>
          <a:endParaRPr lang="ru-RU"/>
        </a:p>
      </dgm:t>
    </dgm:pt>
    <dgm:pt modelId="{763CA118-5F4C-4AE2-88AB-63E165BB1857}" type="pres">
      <dgm:prSet presAssocID="{7AB7F7F0-D035-4C56-AEF3-98C8AF6A0D3B}" presName="hierRoot2" presStyleCnt="0">
        <dgm:presLayoutVars>
          <dgm:hierBranch val="r"/>
        </dgm:presLayoutVars>
      </dgm:prSet>
      <dgm:spPr/>
    </dgm:pt>
    <dgm:pt modelId="{06456216-1510-4434-BE20-CC9E4C96E924}" type="pres">
      <dgm:prSet presAssocID="{7AB7F7F0-D035-4C56-AEF3-98C8AF6A0D3B}" presName="rootComposite" presStyleCnt="0"/>
      <dgm:spPr/>
    </dgm:pt>
    <dgm:pt modelId="{9BFCA1CC-B89B-466C-BAE1-8E208D035D55}" type="pres">
      <dgm:prSet presAssocID="{7AB7F7F0-D035-4C56-AEF3-98C8AF6A0D3B}" presName="rootText" presStyleLbl="node4" presStyleIdx="3" presStyleCnt="8" custScaleY="13889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7A32BCD-334C-4D58-8E85-0D37EE49FF3B}" type="pres">
      <dgm:prSet presAssocID="{7AB7F7F0-D035-4C56-AEF3-98C8AF6A0D3B}" presName="rootConnector" presStyleLbl="node4" presStyleIdx="3" presStyleCnt="8"/>
      <dgm:spPr/>
      <dgm:t>
        <a:bodyPr/>
        <a:lstStyle/>
        <a:p>
          <a:endParaRPr lang="ru-RU"/>
        </a:p>
      </dgm:t>
    </dgm:pt>
    <dgm:pt modelId="{5FF1FF1A-327E-4109-8911-C29DB730EA12}" type="pres">
      <dgm:prSet presAssocID="{7AB7F7F0-D035-4C56-AEF3-98C8AF6A0D3B}" presName="hierChild4" presStyleCnt="0"/>
      <dgm:spPr/>
    </dgm:pt>
    <dgm:pt modelId="{B32A43F8-7C44-408F-828B-14EB72AB404A}" type="pres">
      <dgm:prSet presAssocID="{7AB7F7F0-D035-4C56-AEF3-98C8AF6A0D3B}" presName="hierChild5" presStyleCnt="0"/>
      <dgm:spPr/>
    </dgm:pt>
    <dgm:pt modelId="{DA4ECF9E-162B-4F59-8D67-6AC499FB8120}" type="pres">
      <dgm:prSet presAssocID="{06CBDC20-3314-4BAD-B250-3F17ABB6DCEB}" presName="hierChild5" presStyleCnt="0"/>
      <dgm:spPr/>
    </dgm:pt>
    <dgm:pt modelId="{EF74D006-319D-43BA-ADE1-4656213CCE28}" type="pres">
      <dgm:prSet presAssocID="{9DD93C1C-9015-491D-AAD2-1BEDC0CE41AB}" presName="Name35" presStyleLbl="parChTrans1D3" presStyleIdx="5" presStyleCnt="6"/>
      <dgm:spPr/>
      <dgm:t>
        <a:bodyPr/>
        <a:lstStyle/>
        <a:p>
          <a:endParaRPr lang="ru-RU"/>
        </a:p>
      </dgm:t>
    </dgm:pt>
    <dgm:pt modelId="{6273F7AC-48C2-4271-ABA4-B5A1ABCD0EFA}" type="pres">
      <dgm:prSet presAssocID="{8084E76E-7BF2-4603-887E-8689347457F7}" presName="hierRoot2" presStyleCnt="0">
        <dgm:presLayoutVars>
          <dgm:hierBranch val="r"/>
        </dgm:presLayoutVars>
      </dgm:prSet>
      <dgm:spPr/>
    </dgm:pt>
    <dgm:pt modelId="{292877ED-28AC-4CC6-9278-01339A7B8A5F}" type="pres">
      <dgm:prSet presAssocID="{8084E76E-7BF2-4603-887E-8689347457F7}" presName="rootComposite" presStyleCnt="0"/>
      <dgm:spPr/>
    </dgm:pt>
    <dgm:pt modelId="{49185CA8-D3B4-4AD3-942A-D6CD00B892F9}" type="pres">
      <dgm:prSet presAssocID="{8084E76E-7BF2-4603-887E-8689347457F7}" presName="rootText" presStyleLbl="node3" presStyleIdx="5" presStyleCnt="6" custScaleX="93810" custScaleY="61405" custLinFactNeighborY="71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88648F7-BE34-4CCC-8D1C-54544B72D552}" type="pres">
      <dgm:prSet presAssocID="{8084E76E-7BF2-4603-887E-8689347457F7}" presName="rootConnector" presStyleLbl="node3" presStyleIdx="5" presStyleCnt="6"/>
      <dgm:spPr/>
      <dgm:t>
        <a:bodyPr/>
        <a:lstStyle/>
        <a:p>
          <a:endParaRPr lang="ru-RU"/>
        </a:p>
      </dgm:t>
    </dgm:pt>
    <dgm:pt modelId="{E4FEE345-C9EE-432D-B3E2-C81164FF265A}" type="pres">
      <dgm:prSet presAssocID="{8084E76E-7BF2-4603-887E-8689347457F7}" presName="hierChild4" presStyleCnt="0"/>
      <dgm:spPr/>
    </dgm:pt>
    <dgm:pt modelId="{903A0753-18A2-4F16-A7CB-9643502FC3A5}" type="pres">
      <dgm:prSet presAssocID="{7045625E-452A-4B92-8507-3E4ACE2BC41C}" presName="Name50" presStyleLbl="parChTrans1D4" presStyleIdx="4" presStyleCnt="8"/>
      <dgm:spPr/>
      <dgm:t>
        <a:bodyPr/>
        <a:lstStyle/>
        <a:p>
          <a:endParaRPr lang="ru-RU"/>
        </a:p>
      </dgm:t>
    </dgm:pt>
    <dgm:pt modelId="{8EC4BFC7-E665-4214-9B1A-85688FFF1E7C}" type="pres">
      <dgm:prSet presAssocID="{5FAF6FE3-0B28-45F8-8ECB-028FA8AB03F2}" presName="hierRoot2" presStyleCnt="0">
        <dgm:presLayoutVars>
          <dgm:hierBranch val="init"/>
        </dgm:presLayoutVars>
      </dgm:prSet>
      <dgm:spPr/>
    </dgm:pt>
    <dgm:pt modelId="{0D191ADE-8B51-48F0-A91E-A78AD7D6BD2E}" type="pres">
      <dgm:prSet presAssocID="{5FAF6FE3-0B28-45F8-8ECB-028FA8AB03F2}" presName="rootComposite" presStyleCnt="0"/>
      <dgm:spPr/>
    </dgm:pt>
    <dgm:pt modelId="{BD534855-81AB-48F1-90B7-9A4084C4D6E0}" type="pres">
      <dgm:prSet presAssocID="{5FAF6FE3-0B28-45F8-8ECB-028FA8AB03F2}" presName="rootText" presStyleLbl="node4" presStyleIdx="4" presStyleCnt="8" custScaleY="5952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38A14CB-3882-4C88-947E-3004FBD53698}" type="pres">
      <dgm:prSet presAssocID="{5FAF6FE3-0B28-45F8-8ECB-028FA8AB03F2}" presName="rootConnector" presStyleLbl="node4" presStyleIdx="4" presStyleCnt="8"/>
      <dgm:spPr/>
      <dgm:t>
        <a:bodyPr/>
        <a:lstStyle/>
        <a:p>
          <a:endParaRPr lang="ru-RU"/>
        </a:p>
      </dgm:t>
    </dgm:pt>
    <dgm:pt modelId="{5A9F8D4F-3AE0-4AEF-8834-C9A42EC63849}" type="pres">
      <dgm:prSet presAssocID="{5FAF6FE3-0B28-45F8-8ECB-028FA8AB03F2}" presName="hierChild4" presStyleCnt="0"/>
      <dgm:spPr/>
    </dgm:pt>
    <dgm:pt modelId="{72C3FF0D-D974-459B-A40D-E33699B34A77}" type="pres">
      <dgm:prSet presAssocID="{5FAF6FE3-0B28-45F8-8ECB-028FA8AB03F2}" presName="hierChild5" presStyleCnt="0"/>
      <dgm:spPr/>
    </dgm:pt>
    <dgm:pt modelId="{D69736AF-818E-4FF2-9E15-FD7F37337ED0}" type="pres">
      <dgm:prSet presAssocID="{5F6CB113-0041-4E7D-A743-B97229113E40}" presName="Name50" presStyleLbl="parChTrans1D4" presStyleIdx="5" presStyleCnt="8"/>
      <dgm:spPr/>
      <dgm:t>
        <a:bodyPr/>
        <a:lstStyle/>
        <a:p>
          <a:endParaRPr lang="ru-RU"/>
        </a:p>
      </dgm:t>
    </dgm:pt>
    <dgm:pt modelId="{6262930E-5187-4FCA-94A4-D1A8C5027A6E}" type="pres">
      <dgm:prSet presAssocID="{80DDA64E-1E76-48BA-810C-D42F25E5E89E}" presName="hierRoot2" presStyleCnt="0">
        <dgm:presLayoutVars>
          <dgm:hierBranch val="init"/>
        </dgm:presLayoutVars>
      </dgm:prSet>
      <dgm:spPr/>
    </dgm:pt>
    <dgm:pt modelId="{FDE69E2E-F396-4DE8-A827-6BA0D33F9660}" type="pres">
      <dgm:prSet presAssocID="{80DDA64E-1E76-48BA-810C-D42F25E5E89E}" presName="rootComposite" presStyleCnt="0"/>
      <dgm:spPr/>
    </dgm:pt>
    <dgm:pt modelId="{74237539-9252-4E33-840B-A720EBBBAB20}" type="pres">
      <dgm:prSet presAssocID="{80DDA64E-1E76-48BA-810C-D42F25E5E89E}" presName="rootText" presStyleLbl="node4" presStyleIdx="5" presStyleCnt="8" custScaleY="62713" custLinFactNeighborX="-358" custLinFactNeighborY="-2436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B456191-4787-4E4F-B315-9994B427B7F5}" type="pres">
      <dgm:prSet presAssocID="{80DDA64E-1E76-48BA-810C-D42F25E5E89E}" presName="rootConnector" presStyleLbl="node4" presStyleIdx="5" presStyleCnt="8"/>
      <dgm:spPr/>
      <dgm:t>
        <a:bodyPr/>
        <a:lstStyle/>
        <a:p>
          <a:endParaRPr lang="ru-RU"/>
        </a:p>
      </dgm:t>
    </dgm:pt>
    <dgm:pt modelId="{012A3C29-6F51-4DCC-966A-0A632525AC25}" type="pres">
      <dgm:prSet presAssocID="{80DDA64E-1E76-48BA-810C-D42F25E5E89E}" presName="hierChild4" presStyleCnt="0"/>
      <dgm:spPr/>
    </dgm:pt>
    <dgm:pt modelId="{E2A4D7EA-4988-4041-BAB7-A590CEF89AD9}" type="pres">
      <dgm:prSet presAssocID="{80DDA64E-1E76-48BA-810C-D42F25E5E89E}" presName="hierChild5" presStyleCnt="0"/>
      <dgm:spPr/>
    </dgm:pt>
    <dgm:pt modelId="{041CD75F-9226-4789-B4F9-EDE608653438}" type="pres">
      <dgm:prSet presAssocID="{478EC617-DFB9-40FC-9AEB-46FC8A4239C7}" presName="Name50" presStyleLbl="parChTrans1D4" presStyleIdx="6" presStyleCnt="8"/>
      <dgm:spPr/>
      <dgm:t>
        <a:bodyPr/>
        <a:lstStyle/>
        <a:p>
          <a:endParaRPr lang="ru-RU"/>
        </a:p>
      </dgm:t>
    </dgm:pt>
    <dgm:pt modelId="{36B5DE27-883E-4E50-89E2-04B46883FF37}" type="pres">
      <dgm:prSet presAssocID="{43274A95-5BEC-49BE-AEA3-6CAB2DE3E1F8}" presName="hierRoot2" presStyleCnt="0">
        <dgm:presLayoutVars>
          <dgm:hierBranch val="init"/>
        </dgm:presLayoutVars>
      </dgm:prSet>
      <dgm:spPr/>
    </dgm:pt>
    <dgm:pt modelId="{CED0D747-F4B5-4AAD-9DFD-EB7179A43A1B}" type="pres">
      <dgm:prSet presAssocID="{43274A95-5BEC-49BE-AEA3-6CAB2DE3E1F8}" presName="rootComposite" presStyleCnt="0"/>
      <dgm:spPr/>
    </dgm:pt>
    <dgm:pt modelId="{4AA829C8-06BA-4B84-93E4-1E6F375486E3}" type="pres">
      <dgm:prSet presAssocID="{43274A95-5BEC-49BE-AEA3-6CAB2DE3E1F8}" presName="rootText" presStyleLbl="node4" presStyleIdx="6" presStyleCnt="8" custScaleY="57616" custLinFactNeighborX="358" custLinFactNeighborY="-5087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1FC4A9A-AB75-4619-BFC9-9834988F4451}" type="pres">
      <dgm:prSet presAssocID="{43274A95-5BEC-49BE-AEA3-6CAB2DE3E1F8}" presName="rootConnector" presStyleLbl="node4" presStyleIdx="6" presStyleCnt="8"/>
      <dgm:spPr/>
      <dgm:t>
        <a:bodyPr/>
        <a:lstStyle/>
        <a:p>
          <a:endParaRPr lang="ru-RU"/>
        </a:p>
      </dgm:t>
    </dgm:pt>
    <dgm:pt modelId="{DA92C326-5F5F-4250-903B-36D586013190}" type="pres">
      <dgm:prSet presAssocID="{43274A95-5BEC-49BE-AEA3-6CAB2DE3E1F8}" presName="hierChild4" presStyleCnt="0"/>
      <dgm:spPr/>
    </dgm:pt>
    <dgm:pt modelId="{D5886D09-8AB9-4175-9C0C-1299541FA847}" type="pres">
      <dgm:prSet presAssocID="{43274A95-5BEC-49BE-AEA3-6CAB2DE3E1F8}" presName="hierChild5" presStyleCnt="0"/>
      <dgm:spPr/>
    </dgm:pt>
    <dgm:pt modelId="{67BFBBF4-E65F-4F49-81D2-2971DF5E167B}" type="pres">
      <dgm:prSet presAssocID="{AFCB2457-F055-4EA2-BE02-EB89226143A6}" presName="Name50" presStyleLbl="parChTrans1D4" presStyleIdx="7" presStyleCnt="8"/>
      <dgm:spPr/>
      <dgm:t>
        <a:bodyPr/>
        <a:lstStyle/>
        <a:p>
          <a:endParaRPr lang="ru-RU"/>
        </a:p>
      </dgm:t>
    </dgm:pt>
    <dgm:pt modelId="{AA0D1FDE-E880-4FEF-B490-9303FF962E30}" type="pres">
      <dgm:prSet presAssocID="{A3C57F85-8C37-4B14-A927-C907EBD0A2C7}" presName="hierRoot2" presStyleCnt="0">
        <dgm:presLayoutVars>
          <dgm:hierBranch val="init"/>
        </dgm:presLayoutVars>
      </dgm:prSet>
      <dgm:spPr/>
    </dgm:pt>
    <dgm:pt modelId="{AFC8E5FF-69FF-4811-835A-C4300EBAA906}" type="pres">
      <dgm:prSet presAssocID="{A3C57F85-8C37-4B14-A927-C907EBD0A2C7}" presName="rootComposite" presStyleCnt="0"/>
      <dgm:spPr/>
    </dgm:pt>
    <dgm:pt modelId="{FE1410A3-5C04-48EC-B3D9-F0AD814BD0EB}" type="pres">
      <dgm:prSet presAssocID="{A3C57F85-8C37-4B14-A927-C907EBD0A2C7}" presName="rootText" presStyleLbl="node4" presStyleIdx="7" presStyleCnt="8" custScaleY="67543" custLinFactNeighborX="782" custLinFactNeighborY="-7583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704A71C-A5B4-4B05-A800-B26434EBB34D}" type="pres">
      <dgm:prSet presAssocID="{A3C57F85-8C37-4B14-A927-C907EBD0A2C7}" presName="rootConnector" presStyleLbl="node4" presStyleIdx="7" presStyleCnt="8"/>
      <dgm:spPr/>
      <dgm:t>
        <a:bodyPr/>
        <a:lstStyle/>
        <a:p>
          <a:endParaRPr lang="ru-RU"/>
        </a:p>
      </dgm:t>
    </dgm:pt>
    <dgm:pt modelId="{14A0514B-26B3-493B-9166-29A39467EBDE}" type="pres">
      <dgm:prSet presAssocID="{A3C57F85-8C37-4B14-A927-C907EBD0A2C7}" presName="hierChild4" presStyleCnt="0"/>
      <dgm:spPr/>
    </dgm:pt>
    <dgm:pt modelId="{5050134C-D21C-4E4E-AE6B-A5B360C6982C}" type="pres">
      <dgm:prSet presAssocID="{A3C57F85-8C37-4B14-A927-C907EBD0A2C7}" presName="hierChild5" presStyleCnt="0"/>
      <dgm:spPr/>
    </dgm:pt>
    <dgm:pt modelId="{D3EE7DE5-249B-4725-ADC5-4A6C5FD5C314}" type="pres">
      <dgm:prSet presAssocID="{8084E76E-7BF2-4603-887E-8689347457F7}" presName="hierChild5" presStyleCnt="0"/>
      <dgm:spPr/>
    </dgm:pt>
    <dgm:pt modelId="{2A18EEA7-3D53-4D29-B09C-A928319A4ADE}" type="pres">
      <dgm:prSet presAssocID="{56E70703-65E9-429F-BB7D-BC75BDDBBFC7}" presName="hierChild5" presStyleCnt="0"/>
      <dgm:spPr/>
    </dgm:pt>
    <dgm:pt modelId="{A6FB0673-2E35-41F8-AC20-1CD5946A1F4C}" type="pres">
      <dgm:prSet presAssocID="{1F6C68FA-5CBA-46BF-8A79-C41AA41BE888}" presName="hierChild3" presStyleCnt="0"/>
      <dgm:spPr/>
    </dgm:pt>
  </dgm:ptLst>
  <dgm:cxnLst>
    <dgm:cxn modelId="{92439D55-0AFA-41D6-88E8-41C56B6CB643}" type="presOf" srcId="{5FAF6FE3-0B28-45F8-8ECB-028FA8AB03F2}" destId="{038A14CB-3882-4C88-947E-3004FBD53698}" srcOrd="1" destOrd="0" presId="urn:microsoft.com/office/officeart/2005/8/layout/orgChart1"/>
    <dgm:cxn modelId="{253C1CB4-3A35-4514-981D-9E08FCB04426}" type="presOf" srcId="{0EBBD495-9F85-4016-ABAC-BCC57956B02B}" destId="{5C36683C-C111-4075-9B90-E213532C7A20}" srcOrd="0" destOrd="0" presId="urn:microsoft.com/office/officeart/2005/8/layout/orgChart1"/>
    <dgm:cxn modelId="{2BD351C3-91C9-4059-9D04-1C7B15017C05}" srcId="{FC17A2F6-58DE-4491-9F16-D47327FC2581}" destId="{B2E61E23-A43B-4021-AD01-36C674F2FFC3}" srcOrd="0" destOrd="0" parTransId="{7863B1B1-D4FA-4B1E-9C5B-3B2B39C3CA85}" sibTransId="{0B6C5AEB-844A-489F-8CD3-9E6F5C0CF653}"/>
    <dgm:cxn modelId="{DE241EAF-33A9-41FD-AA02-63CB3FFD61CE}" type="presOf" srcId="{8084E76E-7BF2-4603-887E-8689347457F7}" destId="{688648F7-BE34-4CCC-8D1C-54544B72D552}" srcOrd="1" destOrd="0" presId="urn:microsoft.com/office/officeart/2005/8/layout/orgChart1"/>
    <dgm:cxn modelId="{382DD528-38BB-4BA6-83B2-9496DBE45813}" type="presOf" srcId="{7863B1B1-D4FA-4B1E-9C5B-3B2B39C3CA85}" destId="{2274846C-962C-4751-9752-B29775330646}" srcOrd="0" destOrd="0" presId="urn:microsoft.com/office/officeart/2005/8/layout/orgChart1"/>
    <dgm:cxn modelId="{7D33DB75-A925-43BC-BD0C-1E8F6207AA3C}" srcId="{FC17A2F6-58DE-4491-9F16-D47327FC2581}" destId="{DFA5052E-4BC3-4E4B-AE52-4335B2449227}" srcOrd="2" destOrd="0" parTransId="{FE4DD4B9-B21A-4D35-A48A-B3BDE10CD809}" sibTransId="{01F4C7B3-9966-4B44-9693-C98F8EA140CA}"/>
    <dgm:cxn modelId="{ECBCA1F7-5B99-4519-81AB-B1A7B416396B}" type="presOf" srcId="{5F6CB113-0041-4E7D-A743-B97229113E40}" destId="{D69736AF-818E-4FF2-9E15-FD7F37337ED0}" srcOrd="0" destOrd="0" presId="urn:microsoft.com/office/officeart/2005/8/layout/orgChart1"/>
    <dgm:cxn modelId="{1D8E2F85-8E80-4014-96C5-F57A4E21BCC9}" type="presOf" srcId="{B2E61E23-A43B-4021-AD01-36C674F2FFC3}" destId="{1880F3FF-A827-41E9-BACA-75230AFA5C9B}" srcOrd="1" destOrd="0" presId="urn:microsoft.com/office/officeart/2005/8/layout/orgChart1"/>
    <dgm:cxn modelId="{B407D8AF-A48B-4059-B42F-7F318BC0BB86}" type="presOf" srcId="{A3C57F85-8C37-4B14-A927-C907EBD0A2C7}" destId="{FE1410A3-5C04-48EC-B3D9-F0AD814BD0EB}" srcOrd="0" destOrd="0" presId="urn:microsoft.com/office/officeart/2005/8/layout/orgChart1"/>
    <dgm:cxn modelId="{A5C19088-2176-49CE-B253-8F4A8C4A5596}" type="presOf" srcId="{B2E61E23-A43B-4021-AD01-36C674F2FFC3}" destId="{ED876576-1F35-4A4E-A2CB-D0294CA23E7D}" srcOrd="0" destOrd="0" presId="urn:microsoft.com/office/officeart/2005/8/layout/orgChart1"/>
    <dgm:cxn modelId="{8302E259-17D0-40BF-8570-6E95A7606A16}" type="presOf" srcId="{EE401D0D-2F7F-405E-9667-940BC8DC1912}" destId="{27F3512E-97B6-4B70-ADEF-12E963EF193D}" srcOrd="0" destOrd="0" presId="urn:microsoft.com/office/officeart/2005/8/layout/orgChart1"/>
    <dgm:cxn modelId="{948029AB-4DD6-4689-ACEC-E04177008238}" type="presOf" srcId="{A5F1F7B9-CC75-476F-A018-140FBC8300F0}" destId="{F99B85B7-0166-4011-8D0D-A96BF15D1E8E}" srcOrd="1" destOrd="0" presId="urn:microsoft.com/office/officeart/2005/8/layout/orgChart1"/>
    <dgm:cxn modelId="{B073126A-FB86-4C33-820C-EBA5F3EA5CFE}" srcId="{56E70703-65E9-429F-BB7D-BC75BDDBBFC7}" destId="{01C25A0B-6157-4BE6-8CCB-03643908807B}" srcOrd="0" destOrd="0" parTransId="{2E04E8D2-126D-4CF8-A485-FD430873F760}" sibTransId="{1190C87B-F502-43E2-94C5-B0259D8004E9}"/>
    <dgm:cxn modelId="{4B35E3A1-C720-48F0-BC8F-A6328EFB1C75}" srcId="{06CBDC20-3314-4BAD-B250-3F17ABB6DCEB}" destId="{7AB7F7F0-D035-4C56-AEF3-98C8AF6A0D3B}" srcOrd="0" destOrd="0" parTransId="{3FF23D3B-BEA9-4D5A-A3F0-30CDD2BC4264}" sibTransId="{3863AE24-8431-4F2B-B5AC-AE6F6A1989E1}"/>
    <dgm:cxn modelId="{B630F0A0-DA87-4925-BFB8-13576932E279}" type="presOf" srcId="{63FE7268-B863-414C-952C-B4AC4D4E25F8}" destId="{BCB688BA-D31E-4E1B-BC9C-E7EE5B0F5AC5}" srcOrd="0" destOrd="0" presId="urn:microsoft.com/office/officeart/2005/8/layout/orgChart1"/>
    <dgm:cxn modelId="{9541260F-6EC6-4836-A45B-C8F61766D18F}" type="presOf" srcId="{A3C57F85-8C37-4B14-A927-C907EBD0A2C7}" destId="{E704A71C-A5B4-4B05-A800-B26434EBB34D}" srcOrd="1" destOrd="0" presId="urn:microsoft.com/office/officeart/2005/8/layout/orgChart1"/>
    <dgm:cxn modelId="{37B1D15B-3AAF-4F59-821D-128F314FD9A7}" type="presOf" srcId="{CB9DC10F-047D-4FBE-982D-E087E9802CF3}" destId="{F0169B50-5D09-4E4D-8580-961F9FEFE071}" srcOrd="0" destOrd="0" presId="urn:microsoft.com/office/officeart/2005/8/layout/orgChart1"/>
    <dgm:cxn modelId="{80C8268F-A109-4943-A5A1-38F487070D92}" type="presOf" srcId="{2E04E8D2-126D-4CF8-A485-FD430873F760}" destId="{63D24F00-67D9-47B3-AF54-38E11457098F}" srcOrd="0" destOrd="0" presId="urn:microsoft.com/office/officeart/2005/8/layout/orgChart1"/>
    <dgm:cxn modelId="{E1BB1EFD-2E0B-477A-98B5-AAE97085A322}" type="presOf" srcId="{5E16702E-094C-48AA-AA34-C6E9E038EEDB}" destId="{229E0324-D00C-43DC-8CCD-7694140EA8BE}" srcOrd="0" destOrd="0" presId="urn:microsoft.com/office/officeart/2005/8/layout/orgChart1"/>
    <dgm:cxn modelId="{710BC3A0-D1B2-4913-900B-895DFFAB614E}" type="presOf" srcId="{8084E76E-7BF2-4603-887E-8689347457F7}" destId="{49185CA8-D3B4-4AD3-942A-D6CD00B892F9}" srcOrd="0" destOrd="0" presId="urn:microsoft.com/office/officeart/2005/8/layout/orgChart1"/>
    <dgm:cxn modelId="{6071E80E-B1DD-4E4A-B333-CEF0E9462E35}" srcId="{8084E76E-7BF2-4603-887E-8689347457F7}" destId="{A3C57F85-8C37-4B14-A927-C907EBD0A2C7}" srcOrd="3" destOrd="0" parTransId="{AFCB2457-F055-4EA2-BE02-EB89226143A6}" sibTransId="{2432E501-42B3-4179-839C-ACD91FECB4FE}"/>
    <dgm:cxn modelId="{7C24B7E3-4CF0-4A97-922B-77D6792C5E1A}" type="presOf" srcId="{FE4DD4B9-B21A-4D35-A48A-B3BDE10CD809}" destId="{60A1D20B-8B13-4EED-B870-F01ED3536DB5}" srcOrd="0" destOrd="0" presId="urn:microsoft.com/office/officeart/2005/8/layout/orgChart1"/>
    <dgm:cxn modelId="{5BB32FD9-9899-42C7-8091-B366F7B8E116}" type="presOf" srcId="{D6C491CC-1D6C-463D-8809-978C8AC96E0C}" destId="{FCD552C0-2B34-4453-9D15-FF4C0B487E1C}" srcOrd="0" destOrd="0" presId="urn:microsoft.com/office/officeart/2005/8/layout/orgChart1"/>
    <dgm:cxn modelId="{1657198A-F1A7-4DC7-81E7-B012137D8B99}" type="presOf" srcId="{B01DB9BA-03AD-4258-85BA-8999C1CE3499}" destId="{FF9B4309-1D15-4B13-A3AB-352F9A2FDB07}" srcOrd="1" destOrd="0" presId="urn:microsoft.com/office/officeart/2005/8/layout/orgChart1"/>
    <dgm:cxn modelId="{027792D0-1B5F-4216-BDC7-E398BF8FF4CE}" srcId="{8084E76E-7BF2-4603-887E-8689347457F7}" destId="{80DDA64E-1E76-48BA-810C-D42F25E5E89E}" srcOrd="1" destOrd="0" parTransId="{5F6CB113-0041-4E7D-A743-B97229113E40}" sibTransId="{B98EB2C2-5001-4999-ACCE-1ABD1DD56038}"/>
    <dgm:cxn modelId="{0D25B66E-3247-462C-802A-B331FDCA6D8C}" type="presOf" srcId="{38B1DE61-64DD-4A5A-A36B-DFB00B42786B}" destId="{BB134EE7-80DE-4F68-AB9D-42A71E1929CE}" srcOrd="1" destOrd="0" presId="urn:microsoft.com/office/officeart/2005/8/layout/orgChart1"/>
    <dgm:cxn modelId="{57E1D8DD-3A8E-452E-83C6-72028CBCAEE5}" srcId="{56E70703-65E9-429F-BB7D-BC75BDDBBFC7}" destId="{8084E76E-7BF2-4603-887E-8689347457F7}" srcOrd="2" destOrd="0" parTransId="{9DD93C1C-9015-491D-AAD2-1BEDC0CE41AB}" sibTransId="{EC71EF3B-2CDF-4123-88E2-0BDC3A0E1DDD}"/>
    <dgm:cxn modelId="{0EEB8BF1-F0CA-4E8B-8464-659345FF8337}" type="presOf" srcId="{06CBDC20-3314-4BAD-B250-3F17ABB6DCEB}" destId="{749BA842-0F4B-4423-8379-2651A5A0F380}" srcOrd="1" destOrd="0" presId="urn:microsoft.com/office/officeart/2005/8/layout/orgChart1"/>
    <dgm:cxn modelId="{0BA99308-A9D7-403E-AB99-4B86667BBE16}" type="presOf" srcId="{56E70703-65E9-429F-BB7D-BC75BDDBBFC7}" destId="{E044256E-92EF-442C-8EF0-D9C5B801BC35}" srcOrd="1" destOrd="0" presId="urn:microsoft.com/office/officeart/2005/8/layout/orgChart1"/>
    <dgm:cxn modelId="{B0923BF4-5F71-4F97-9E7D-07E881E6B564}" type="presOf" srcId="{478EC617-DFB9-40FC-9AEB-46FC8A4239C7}" destId="{041CD75F-9226-4789-B4F9-EDE608653438}" srcOrd="0" destOrd="0" presId="urn:microsoft.com/office/officeart/2005/8/layout/orgChart1"/>
    <dgm:cxn modelId="{DAB8D65E-32BD-4420-9A31-D53F16B3D7CF}" type="presOf" srcId="{5D1FDABC-0297-4ECE-B1B3-203F523E145B}" destId="{1C313B8D-2E99-4939-B8B8-B590204F0228}" srcOrd="0" destOrd="0" presId="urn:microsoft.com/office/officeart/2005/8/layout/orgChart1"/>
    <dgm:cxn modelId="{05084E23-D94A-4E2F-BA40-74D79873310E}" srcId="{1F6C68FA-5CBA-46BF-8A79-C41AA41BE888}" destId="{FC17A2F6-58DE-4491-9F16-D47327FC2581}" srcOrd="0" destOrd="0" parTransId="{0EBBD495-9F85-4016-ABAC-BCC57956B02B}" sibTransId="{2B86F5EC-4AA4-4FB3-A55C-AC35AFC7F026}"/>
    <dgm:cxn modelId="{0255D751-70B4-4433-843F-499375633100}" type="presOf" srcId="{A6022F16-645F-47CE-8AFE-D3B3E786A4E4}" destId="{2818AB3B-5CD0-47BF-803F-82271AD4BCCA}" srcOrd="0" destOrd="0" presId="urn:microsoft.com/office/officeart/2005/8/layout/orgChart1"/>
    <dgm:cxn modelId="{47BA4444-AA3F-4A6F-AED4-213A923AA237}" type="presOf" srcId="{DFA5052E-4BC3-4E4B-AE52-4335B2449227}" destId="{D088E948-ACDE-4B59-B45C-18B7CDCAA3D0}" srcOrd="1" destOrd="0" presId="urn:microsoft.com/office/officeart/2005/8/layout/orgChart1"/>
    <dgm:cxn modelId="{46D95B61-A894-4D5D-B81F-620012168BA0}" type="presOf" srcId="{FC17A2F6-58DE-4491-9F16-D47327FC2581}" destId="{0FDA9043-037C-4EB1-A2EA-9DC85E3BCD99}" srcOrd="0" destOrd="0" presId="urn:microsoft.com/office/officeart/2005/8/layout/orgChart1"/>
    <dgm:cxn modelId="{8C08BD94-F337-4A62-90A3-19F0D5868DC5}" srcId="{FC17A2F6-58DE-4491-9F16-D47327FC2581}" destId="{B01DB9BA-03AD-4258-85BA-8999C1CE3499}" srcOrd="1" destOrd="0" parTransId="{D6C491CC-1D6C-463D-8809-978C8AC96E0C}" sibTransId="{DA0BA3F2-B91B-4545-8E93-A1D265CBCF12}"/>
    <dgm:cxn modelId="{A586527C-D508-4E5B-BEC3-A4050D73258D}" srcId="{01C25A0B-6157-4BE6-8CCB-03643908807B}" destId="{CB9DC10F-047D-4FBE-982D-E087E9802CF3}" srcOrd="1" destOrd="0" parTransId="{5E16702E-094C-48AA-AA34-C6E9E038EEDB}" sibTransId="{226C0513-1B48-45AA-9B16-92C2982D9845}"/>
    <dgm:cxn modelId="{FCC09866-E98C-49A1-948F-83B993555EC8}" type="presOf" srcId="{7045625E-452A-4B92-8507-3E4ACE2BC41C}" destId="{903A0753-18A2-4F16-A7CB-9643502FC3A5}" srcOrd="0" destOrd="0" presId="urn:microsoft.com/office/officeart/2005/8/layout/orgChart1"/>
    <dgm:cxn modelId="{E24FCE7C-CD5C-4B71-A15A-85C5D26993F6}" type="presOf" srcId="{1F6C68FA-5CBA-46BF-8A79-C41AA41BE888}" destId="{415DDE58-48C4-452A-ADC7-B4B7B993DADF}" srcOrd="0" destOrd="0" presId="urn:microsoft.com/office/officeart/2005/8/layout/orgChart1"/>
    <dgm:cxn modelId="{E2F9DEEE-910A-482A-A620-A806A452A6E1}" type="presOf" srcId="{3FF23D3B-BEA9-4D5A-A3F0-30CDD2BC4264}" destId="{6FCB83C5-096F-4BA5-B5A5-816431EE427C}" srcOrd="0" destOrd="0" presId="urn:microsoft.com/office/officeart/2005/8/layout/orgChart1"/>
    <dgm:cxn modelId="{95AE19DB-14FE-4853-BBBA-4E98951D5EF9}" type="presOf" srcId="{56E70703-65E9-429F-BB7D-BC75BDDBBFC7}" destId="{8DFCB912-7AD4-4242-BCFF-6B315BFED99D}" srcOrd="0" destOrd="0" presId="urn:microsoft.com/office/officeart/2005/8/layout/orgChart1"/>
    <dgm:cxn modelId="{3D501BDA-491E-43D1-965D-02636CD28506}" type="presOf" srcId="{80DDA64E-1E76-48BA-810C-D42F25E5E89E}" destId="{74237539-9252-4E33-840B-A720EBBBAB20}" srcOrd="0" destOrd="0" presId="urn:microsoft.com/office/officeart/2005/8/layout/orgChart1"/>
    <dgm:cxn modelId="{12895BD0-070B-4CFB-97B3-53E60B118131}" type="presOf" srcId="{43274A95-5BEC-49BE-AEA3-6CAB2DE3E1F8}" destId="{4AA829C8-06BA-4B84-93E4-1E6F375486E3}" srcOrd="0" destOrd="0" presId="urn:microsoft.com/office/officeart/2005/8/layout/orgChart1"/>
    <dgm:cxn modelId="{0D2EE062-8C18-450A-A9F3-C24F8CEEB27E}" srcId="{01C25A0B-6157-4BE6-8CCB-03643908807B}" destId="{38B1DE61-64DD-4A5A-A36B-DFB00B42786B}" srcOrd="0" destOrd="0" parTransId="{E907F813-9F0F-416A-8D70-8F80749FB5F3}" sibTransId="{AC9FBF06-96F7-446E-966F-705088CAC49A}"/>
    <dgm:cxn modelId="{89251E4C-0F87-4F1B-A0BC-E5093409DEF2}" type="presOf" srcId="{38B1DE61-64DD-4A5A-A36B-DFB00B42786B}" destId="{9A6AAE14-9DDA-46C9-A371-B89BF76DE94A}" srcOrd="0" destOrd="0" presId="urn:microsoft.com/office/officeart/2005/8/layout/orgChart1"/>
    <dgm:cxn modelId="{A7E57F64-60F6-41C2-AFED-27EA94CF4C4E}" type="presOf" srcId="{A5F1F7B9-CC75-476F-A018-140FBC8300F0}" destId="{EF9E14AC-CF93-4143-B5F9-C8688A49327A}" srcOrd="0" destOrd="0" presId="urn:microsoft.com/office/officeart/2005/8/layout/orgChart1"/>
    <dgm:cxn modelId="{028837F1-E17B-4910-9C2A-66074E0CD12E}" srcId="{01C25A0B-6157-4BE6-8CCB-03643908807B}" destId="{A5F1F7B9-CC75-476F-A018-140FBC8300F0}" srcOrd="2" destOrd="0" parTransId="{63FE7268-B863-414C-952C-B4AC4D4E25F8}" sibTransId="{62702C81-DB97-420B-A792-F0A1CC8B13D4}"/>
    <dgm:cxn modelId="{4F361CFB-8268-40F8-B4C1-A142A2A6B804}" type="presOf" srcId="{B01DB9BA-03AD-4258-85BA-8999C1CE3499}" destId="{B665094A-E056-45C1-8241-08CF539DF9F6}" srcOrd="0" destOrd="0" presId="urn:microsoft.com/office/officeart/2005/8/layout/orgChart1"/>
    <dgm:cxn modelId="{CEC8FD82-FEB1-44CC-ACA2-10D09D97B96D}" srcId="{EE401D0D-2F7F-405E-9667-940BC8DC1912}" destId="{1F6C68FA-5CBA-46BF-8A79-C41AA41BE888}" srcOrd="0" destOrd="0" parTransId="{9013A2F8-C8FE-41E7-9C52-858C586EAA16}" sibTransId="{DEB48CBB-CC20-4A23-869A-76877156C104}"/>
    <dgm:cxn modelId="{7CA58E5F-2137-48DF-9EEB-CE7916F1AC0E}" type="presOf" srcId="{80DDA64E-1E76-48BA-810C-D42F25E5E89E}" destId="{2B456191-4787-4E4F-B315-9994B427B7F5}" srcOrd="1" destOrd="0" presId="urn:microsoft.com/office/officeart/2005/8/layout/orgChart1"/>
    <dgm:cxn modelId="{18DDF2DB-6F10-4361-A2E9-FF52F254454E}" type="presOf" srcId="{9DD93C1C-9015-491D-AAD2-1BEDC0CE41AB}" destId="{EF74D006-319D-43BA-ADE1-4656213CCE28}" srcOrd="0" destOrd="0" presId="urn:microsoft.com/office/officeart/2005/8/layout/orgChart1"/>
    <dgm:cxn modelId="{2F76E7AC-54C6-4B7B-840A-9FC69022DF1E}" type="presOf" srcId="{5FAF6FE3-0B28-45F8-8ECB-028FA8AB03F2}" destId="{BD534855-81AB-48F1-90B7-9A4084C4D6E0}" srcOrd="0" destOrd="0" presId="urn:microsoft.com/office/officeart/2005/8/layout/orgChart1"/>
    <dgm:cxn modelId="{DCE0CD7A-3AE2-470C-9328-9A573565A77F}" srcId="{1F6C68FA-5CBA-46BF-8A79-C41AA41BE888}" destId="{56E70703-65E9-429F-BB7D-BC75BDDBBFC7}" srcOrd="1" destOrd="0" parTransId="{A6022F16-645F-47CE-8AFE-D3B3E786A4E4}" sibTransId="{689E21C8-6715-46DC-805D-978B00F1B914}"/>
    <dgm:cxn modelId="{BCCB4D4C-7CC1-45D6-A18E-99CC35FDF5AC}" srcId="{8084E76E-7BF2-4603-887E-8689347457F7}" destId="{5FAF6FE3-0B28-45F8-8ECB-028FA8AB03F2}" srcOrd="0" destOrd="0" parTransId="{7045625E-452A-4B92-8507-3E4ACE2BC41C}" sibTransId="{84E7847B-2C35-43AA-8707-EF5A340B87DC}"/>
    <dgm:cxn modelId="{07FD9A9D-6941-4BD3-B72A-5DAA5CB18FE1}" type="presOf" srcId="{06CBDC20-3314-4BAD-B250-3F17ABB6DCEB}" destId="{BCB8FB69-5B57-4493-8AF3-AE76DA5580AA}" srcOrd="0" destOrd="0" presId="urn:microsoft.com/office/officeart/2005/8/layout/orgChart1"/>
    <dgm:cxn modelId="{26F49964-C943-471B-BAC3-3B544E1A73EE}" type="presOf" srcId="{E907F813-9F0F-416A-8D70-8F80749FB5F3}" destId="{2BD29D9B-B9F9-4FDD-A6DA-7142CAB7B036}" srcOrd="0" destOrd="0" presId="urn:microsoft.com/office/officeart/2005/8/layout/orgChart1"/>
    <dgm:cxn modelId="{468C5AFD-EEB4-4685-969D-7290FEDA4C7C}" type="presOf" srcId="{7AB7F7F0-D035-4C56-AEF3-98C8AF6A0D3B}" destId="{B7A32BCD-334C-4D58-8E85-0D37EE49FF3B}" srcOrd="1" destOrd="0" presId="urn:microsoft.com/office/officeart/2005/8/layout/orgChart1"/>
    <dgm:cxn modelId="{19125F64-486E-4BE7-9472-1F2995DE4985}" type="presOf" srcId="{01C25A0B-6157-4BE6-8CCB-03643908807B}" destId="{DEA38CB9-A56F-445E-858D-06A1169D3476}" srcOrd="1" destOrd="0" presId="urn:microsoft.com/office/officeart/2005/8/layout/orgChart1"/>
    <dgm:cxn modelId="{75EB7F4A-6AAA-4854-8446-C37269A24371}" srcId="{56E70703-65E9-429F-BB7D-BC75BDDBBFC7}" destId="{06CBDC20-3314-4BAD-B250-3F17ABB6DCEB}" srcOrd="1" destOrd="0" parTransId="{5D1FDABC-0297-4ECE-B1B3-203F523E145B}" sibTransId="{E70B5CA2-D0C0-46EC-8217-2EDDF7767FC1}"/>
    <dgm:cxn modelId="{75AB6546-5CFE-433C-9B56-205E4D586A01}" type="presOf" srcId="{43274A95-5BEC-49BE-AEA3-6CAB2DE3E1F8}" destId="{D1FC4A9A-AB75-4619-BFC9-9834988F4451}" srcOrd="1" destOrd="0" presId="urn:microsoft.com/office/officeart/2005/8/layout/orgChart1"/>
    <dgm:cxn modelId="{AE47CDE6-0192-435E-AFCB-C40726DE2690}" type="presOf" srcId="{1F6C68FA-5CBA-46BF-8A79-C41AA41BE888}" destId="{ACCD8CF0-D3C2-46E3-99BA-A3BC11955E48}" srcOrd="1" destOrd="0" presId="urn:microsoft.com/office/officeart/2005/8/layout/orgChart1"/>
    <dgm:cxn modelId="{FD8C6399-72EA-4D0E-9743-5AF2E88E6C21}" type="presOf" srcId="{FC17A2F6-58DE-4491-9F16-D47327FC2581}" destId="{33D08484-E662-46B1-AE3B-C75E0027D878}" srcOrd="1" destOrd="0" presId="urn:microsoft.com/office/officeart/2005/8/layout/orgChart1"/>
    <dgm:cxn modelId="{78F02422-7472-4AFB-993A-DF2521E760E6}" type="presOf" srcId="{01C25A0B-6157-4BE6-8CCB-03643908807B}" destId="{FBB50CC8-A842-4167-B60F-261A60F758A5}" srcOrd="0" destOrd="0" presId="urn:microsoft.com/office/officeart/2005/8/layout/orgChart1"/>
    <dgm:cxn modelId="{3FA5CDBB-DC5D-44F2-BEFE-54F0C96CB8B3}" type="presOf" srcId="{7AB7F7F0-D035-4C56-AEF3-98C8AF6A0D3B}" destId="{9BFCA1CC-B89B-466C-BAE1-8E208D035D55}" srcOrd="0" destOrd="0" presId="urn:microsoft.com/office/officeart/2005/8/layout/orgChart1"/>
    <dgm:cxn modelId="{5A8D6C43-094C-46D6-9900-A22DB02D0DE5}" type="presOf" srcId="{CB9DC10F-047D-4FBE-982D-E087E9802CF3}" destId="{EDE09A34-229E-4B26-A511-4120F60DC51A}" srcOrd="1" destOrd="0" presId="urn:microsoft.com/office/officeart/2005/8/layout/orgChart1"/>
    <dgm:cxn modelId="{533D97A8-B987-4063-8519-5EC9A9A581F5}" type="presOf" srcId="{AFCB2457-F055-4EA2-BE02-EB89226143A6}" destId="{67BFBBF4-E65F-4F49-81D2-2971DF5E167B}" srcOrd="0" destOrd="0" presId="urn:microsoft.com/office/officeart/2005/8/layout/orgChart1"/>
    <dgm:cxn modelId="{01461F30-2DE9-4117-A5E7-40E7B935A790}" type="presOf" srcId="{DFA5052E-4BC3-4E4B-AE52-4335B2449227}" destId="{4E1C9AE2-EA98-4192-B837-63489AAF2646}" srcOrd="0" destOrd="0" presId="urn:microsoft.com/office/officeart/2005/8/layout/orgChart1"/>
    <dgm:cxn modelId="{C9D95C8C-15C6-452C-884F-B8654DDDB564}" srcId="{8084E76E-7BF2-4603-887E-8689347457F7}" destId="{43274A95-5BEC-49BE-AEA3-6CAB2DE3E1F8}" srcOrd="2" destOrd="0" parTransId="{478EC617-DFB9-40FC-9AEB-46FC8A4239C7}" sibTransId="{21F27AE1-9571-4DBE-BFA5-2B355FAC2C0A}"/>
    <dgm:cxn modelId="{126BE97C-2E13-4274-B8AB-3A56D84915F3}" type="presParOf" srcId="{27F3512E-97B6-4B70-ADEF-12E963EF193D}" destId="{595EFA8D-7FBD-475D-96E7-53183669C42E}" srcOrd="0" destOrd="0" presId="urn:microsoft.com/office/officeart/2005/8/layout/orgChart1"/>
    <dgm:cxn modelId="{E6197125-FA44-4119-B549-50014DA1C77D}" type="presParOf" srcId="{595EFA8D-7FBD-475D-96E7-53183669C42E}" destId="{D27E3A4A-BC7B-4D70-BDD9-C6B6DEC8A163}" srcOrd="0" destOrd="0" presId="urn:microsoft.com/office/officeart/2005/8/layout/orgChart1"/>
    <dgm:cxn modelId="{1394320F-7CED-4AA5-8EF2-837DBCA24F63}" type="presParOf" srcId="{D27E3A4A-BC7B-4D70-BDD9-C6B6DEC8A163}" destId="{415DDE58-48C4-452A-ADC7-B4B7B993DADF}" srcOrd="0" destOrd="0" presId="urn:microsoft.com/office/officeart/2005/8/layout/orgChart1"/>
    <dgm:cxn modelId="{EB44295F-91C2-4C03-8A80-E5082F546AD8}" type="presParOf" srcId="{D27E3A4A-BC7B-4D70-BDD9-C6B6DEC8A163}" destId="{ACCD8CF0-D3C2-46E3-99BA-A3BC11955E48}" srcOrd="1" destOrd="0" presId="urn:microsoft.com/office/officeart/2005/8/layout/orgChart1"/>
    <dgm:cxn modelId="{794C2F02-D8DA-4DD4-B06D-D0EF7B854E0F}" type="presParOf" srcId="{595EFA8D-7FBD-475D-96E7-53183669C42E}" destId="{BD534469-C637-4DBE-8FE1-EAA1B9EE9534}" srcOrd="1" destOrd="0" presId="urn:microsoft.com/office/officeart/2005/8/layout/orgChart1"/>
    <dgm:cxn modelId="{39039306-008D-4346-9D67-133C441E4801}" type="presParOf" srcId="{BD534469-C637-4DBE-8FE1-EAA1B9EE9534}" destId="{5C36683C-C111-4075-9B90-E213532C7A20}" srcOrd="0" destOrd="0" presId="urn:microsoft.com/office/officeart/2005/8/layout/orgChart1"/>
    <dgm:cxn modelId="{074E7D2F-1804-4DAA-AFCB-609178CFA8FA}" type="presParOf" srcId="{BD534469-C637-4DBE-8FE1-EAA1B9EE9534}" destId="{AEB31B73-89DE-4D62-8E38-B6F167D6E3D6}" srcOrd="1" destOrd="0" presId="urn:microsoft.com/office/officeart/2005/8/layout/orgChart1"/>
    <dgm:cxn modelId="{792E964A-11B4-47E9-8227-AC85A66F15D2}" type="presParOf" srcId="{AEB31B73-89DE-4D62-8E38-B6F167D6E3D6}" destId="{598BC223-A17F-4909-9F3A-A52CE931001E}" srcOrd="0" destOrd="0" presId="urn:microsoft.com/office/officeart/2005/8/layout/orgChart1"/>
    <dgm:cxn modelId="{FA89884D-FEEA-45E3-823E-AA27F7E4CF1C}" type="presParOf" srcId="{598BC223-A17F-4909-9F3A-A52CE931001E}" destId="{0FDA9043-037C-4EB1-A2EA-9DC85E3BCD99}" srcOrd="0" destOrd="0" presId="urn:microsoft.com/office/officeart/2005/8/layout/orgChart1"/>
    <dgm:cxn modelId="{89BF5256-E707-455F-B73A-0FDA80DFEABB}" type="presParOf" srcId="{598BC223-A17F-4909-9F3A-A52CE931001E}" destId="{33D08484-E662-46B1-AE3B-C75E0027D878}" srcOrd="1" destOrd="0" presId="urn:microsoft.com/office/officeart/2005/8/layout/orgChart1"/>
    <dgm:cxn modelId="{288D11D3-5D81-4363-AC28-8C7672F5E777}" type="presParOf" srcId="{AEB31B73-89DE-4D62-8E38-B6F167D6E3D6}" destId="{F94A58EF-DD23-430A-96E0-EC182276C7BD}" srcOrd="1" destOrd="0" presId="urn:microsoft.com/office/officeart/2005/8/layout/orgChart1"/>
    <dgm:cxn modelId="{53E0BDDB-FB53-4284-9583-6911B0C15437}" type="presParOf" srcId="{F94A58EF-DD23-430A-96E0-EC182276C7BD}" destId="{2274846C-962C-4751-9752-B29775330646}" srcOrd="0" destOrd="0" presId="urn:microsoft.com/office/officeart/2005/8/layout/orgChart1"/>
    <dgm:cxn modelId="{66111CFF-2980-443F-AA02-0C836D6A0D8A}" type="presParOf" srcId="{F94A58EF-DD23-430A-96E0-EC182276C7BD}" destId="{5EBC65CE-2C1F-48F6-BBA5-4F714AA30DE9}" srcOrd="1" destOrd="0" presId="urn:microsoft.com/office/officeart/2005/8/layout/orgChart1"/>
    <dgm:cxn modelId="{637718BE-A66E-40CE-AA30-EF805773DB32}" type="presParOf" srcId="{5EBC65CE-2C1F-48F6-BBA5-4F714AA30DE9}" destId="{596818CD-3B39-4D9F-9A11-664BD4A34DB4}" srcOrd="0" destOrd="0" presId="urn:microsoft.com/office/officeart/2005/8/layout/orgChart1"/>
    <dgm:cxn modelId="{DF151C23-A647-4987-9E28-11D6AFBE223F}" type="presParOf" srcId="{596818CD-3B39-4D9F-9A11-664BD4A34DB4}" destId="{ED876576-1F35-4A4E-A2CB-D0294CA23E7D}" srcOrd="0" destOrd="0" presId="urn:microsoft.com/office/officeart/2005/8/layout/orgChart1"/>
    <dgm:cxn modelId="{966A1873-33F6-4844-AB7A-2F6156374774}" type="presParOf" srcId="{596818CD-3B39-4D9F-9A11-664BD4A34DB4}" destId="{1880F3FF-A827-41E9-BACA-75230AFA5C9B}" srcOrd="1" destOrd="0" presId="urn:microsoft.com/office/officeart/2005/8/layout/orgChart1"/>
    <dgm:cxn modelId="{A919314A-14A7-493D-826C-224FE4B7E4B0}" type="presParOf" srcId="{5EBC65CE-2C1F-48F6-BBA5-4F714AA30DE9}" destId="{74BE2A17-58F1-4FD8-A4F4-C345E393426C}" srcOrd="1" destOrd="0" presId="urn:microsoft.com/office/officeart/2005/8/layout/orgChart1"/>
    <dgm:cxn modelId="{B58C0A08-2CC3-4288-A181-CED3003A97A9}" type="presParOf" srcId="{5EBC65CE-2C1F-48F6-BBA5-4F714AA30DE9}" destId="{9A483061-DA36-48B9-8B92-82D38C5074B5}" srcOrd="2" destOrd="0" presId="urn:microsoft.com/office/officeart/2005/8/layout/orgChart1"/>
    <dgm:cxn modelId="{5AB8C477-FAC3-4741-B639-30B33327E144}" type="presParOf" srcId="{F94A58EF-DD23-430A-96E0-EC182276C7BD}" destId="{FCD552C0-2B34-4453-9D15-FF4C0B487E1C}" srcOrd="2" destOrd="0" presId="urn:microsoft.com/office/officeart/2005/8/layout/orgChart1"/>
    <dgm:cxn modelId="{D3675EC3-4CE9-4CB8-A956-55223AA9F01D}" type="presParOf" srcId="{F94A58EF-DD23-430A-96E0-EC182276C7BD}" destId="{87294AD8-9C6E-46B8-A451-F805C37BF285}" srcOrd="3" destOrd="0" presId="urn:microsoft.com/office/officeart/2005/8/layout/orgChart1"/>
    <dgm:cxn modelId="{738E2B21-4E2D-48B9-8B97-4F44D31B11EE}" type="presParOf" srcId="{87294AD8-9C6E-46B8-A451-F805C37BF285}" destId="{CE327C03-609B-4305-B746-A087EF06B73D}" srcOrd="0" destOrd="0" presId="urn:microsoft.com/office/officeart/2005/8/layout/orgChart1"/>
    <dgm:cxn modelId="{78FEF1A4-818A-4E4F-A9DB-D01D3A0F1BBB}" type="presParOf" srcId="{CE327C03-609B-4305-B746-A087EF06B73D}" destId="{B665094A-E056-45C1-8241-08CF539DF9F6}" srcOrd="0" destOrd="0" presId="urn:microsoft.com/office/officeart/2005/8/layout/orgChart1"/>
    <dgm:cxn modelId="{8FE7A6A1-06FF-4D64-8DF6-2D090C99E0C1}" type="presParOf" srcId="{CE327C03-609B-4305-B746-A087EF06B73D}" destId="{FF9B4309-1D15-4B13-A3AB-352F9A2FDB07}" srcOrd="1" destOrd="0" presId="urn:microsoft.com/office/officeart/2005/8/layout/orgChart1"/>
    <dgm:cxn modelId="{9AAFD152-7298-44E4-BD32-3A2BB892E87E}" type="presParOf" srcId="{87294AD8-9C6E-46B8-A451-F805C37BF285}" destId="{B6C4DEB9-490D-4BE0-AC81-8610F1EF6BA5}" srcOrd="1" destOrd="0" presId="urn:microsoft.com/office/officeart/2005/8/layout/orgChart1"/>
    <dgm:cxn modelId="{D310C0F5-7F99-4DAD-8A84-D39ACF0C5D3A}" type="presParOf" srcId="{87294AD8-9C6E-46B8-A451-F805C37BF285}" destId="{D37ED676-711B-4B08-A614-97F253B9B3BA}" srcOrd="2" destOrd="0" presId="urn:microsoft.com/office/officeart/2005/8/layout/orgChart1"/>
    <dgm:cxn modelId="{762E97B3-F258-4DDD-8D94-EA7235B31E85}" type="presParOf" srcId="{F94A58EF-DD23-430A-96E0-EC182276C7BD}" destId="{60A1D20B-8B13-4EED-B870-F01ED3536DB5}" srcOrd="4" destOrd="0" presId="urn:microsoft.com/office/officeart/2005/8/layout/orgChart1"/>
    <dgm:cxn modelId="{2DDDC782-C75D-423D-9690-C9F7AD45A19C}" type="presParOf" srcId="{F94A58EF-DD23-430A-96E0-EC182276C7BD}" destId="{1CCA6E75-D251-49CE-B4BA-2E54F0AB33F3}" srcOrd="5" destOrd="0" presId="urn:microsoft.com/office/officeart/2005/8/layout/orgChart1"/>
    <dgm:cxn modelId="{35252522-21A1-45FC-AE97-3AD867F21A0D}" type="presParOf" srcId="{1CCA6E75-D251-49CE-B4BA-2E54F0AB33F3}" destId="{79DC61F5-8555-4E44-A681-2880D9479DBF}" srcOrd="0" destOrd="0" presId="urn:microsoft.com/office/officeart/2005/8/layout/orgChart1"/>
    <dgm:cxn modelId="{1C0CE261-B67C-4BEC-92FE-4BE586ABEC00}" type="presParOf" srcId="{79DC61F5-8555-4E44-A681-2880D9479DBF}" destId="{4E1C9AE2-EA98-4192-B837-63489AAF2646}" srcOrd="0" destOrd="0" presId="urn:microsoft.com/office/officeart/2005/8/layout/orgChart1"/>
    <dgm:cxn modelId="{C6E3B347-9DFE-4CE2-AE5D-8867872624F6}" type="presParOf" srcId="{79DC61F5-8555-4E44-A681-2880D9479DBF}" destId="{D088E948-ACDE-4B59-B45C-18B7CDCAA3D0}" srcOrd="1" destOrd="0" presId="urn:microsoft.com/office/officeart/2005/8/layout/orgChart1"/>
    <dgm:cxn modelId="{354F2CB1-112D-404A-BBDE-C1C2F75F2D7E}" type="presParOf" srcId="{1CCA6E75-D251-49CE-B4BA-2E54F0AB33F3}" destId="{9BF9694F-6B5A-47EF-881C-A21846A28C5C}" srcOrd="1" destOrd="0" presId="urn:microsoft.com/office/officeart/2005/8/layout/orgChart1"/>
    <dgm:cxn modelId="{21C55AA7-5BE8-4FFF-99B0-3243BFE0139F}" type="presParOf" srcId="{1CCA6E75-D251-49CE-B4BA-2E54F0AB33F3}" destId="{11CCDC36-2D08-46C7-B1E4-B8455E692BA4}" srcOrd="2" destOrd="0" presId="urn:microsoft.com/office/officeart/2005/8/layout/orgChart1"/>
    <dgm:cxn modelId="{D030E57A-EF34-4F8A-93A5-69D512204B5F}" type="presParOf" srcId="{AEB31B73-89DE-4D62-8E38-B6F167D6E3D6}" destId="{5ED99762-BC96-4FF0-A3F8-D072E50A4F21}" srcOrd="2" destOrd="0" presId="urn:microsoft.com/office/officeart/2005/8/layout/orgChart1"/>
    <dgm:cxn modelId="{692A1D25-E698-40B1-B5C9-2DFBABDC3951}" type="presParOf" srcId="{BD534469-C637-4DBE-8FE1-EAA1B9EE9534}" destId="{2818AB3B-5CD0-47BF-803F-82271AD4BCCA}" srcOrd="2" destOrd="0" presId="urn:microsoft.com/office/officeart/2005/8/layout/orgChart1"/>
    <dgm:cxn modelId="{34371986-93F7-4BF0-A248-965951D7D292}" type="presParOf" srcId="{BD534469-C637-4DBE-8FE1-EAA1B9EE9534}" destId="{356CDEDD-FA43-4140-9FE2-9150EF49E741}" srcOrd="3" destOrd="0" presId="urn:microsoft.com/office/officeart/2005/8/layout/orgChart1"/>
    <dgm:cxn modelId="{027060B9-F247-42C1-A92B-A561929E45F9}" type="presParOf" srcId="{356CDEDD-FA43-4140-9FE2-9150EF49E741}" destId="{92BAB0AE-5701-4DBA-B888-C627146B8A06}" srcOrd="0" destOrd="0" presId="urn:microsoft.com/office/officeart/2005/8/layout/orgChart1"/>
    <dgm:cxn modelId="{A17CA284-57C9-47AA-A1FF-5532DB9643CA}" type="presParOf" srcId="{92BAB0AE-5701-4DBA-B888-C627146B8A06}" destId="{8DFCB912-7AD4-4242-BCFF-6B315BFED99D}" srcOrd="0" destOrd="0" presId="urn:microsoft.com/office/officeart/2005/8/layout/orgChart1"/>
    <dgm:cxn modelId="{73175CE0-00E3-405E-BD52-0B2D0BA157D8}" type="presParOf" srcId="{92BAB0AE-5701-4DBA-B888-C627146B8A06}" destId="{E044256E-92EF-442C-8EF0-D9C5B801BC35}" srcOrd="1" destOrd="0" presId="urn:microsoft.com/office/officeart/2005/8/layout/orgChart1"/>
    <dgm:cxn modelId="{C17512B2-374D-474F-AC60-BD6467F90B44}" type="presParOf" srcId="{356CDEDD-FA43-4140-9FE2-9150EF49E741}" destId="{545F509C-1461-432B-86AC-E5E4B74ECE7B}" srcOrd="1" destOrd="0" presId="urn:microsoft.com/office/officeart/2005/8/layout/orgChart1"/>
    <dgm:cxn modelId="{E4F7DAB8-D8E9-4B6E-9D66-C15A99D5F50F}" type="presParOf" srcId="{545F509C-1461-432B-86AC-E5E4B74ECE7B}" destId="{63D24F00-67D9-47B3-AF54-38E11457098F}" srcOrd="0" destOrd="0" presId="urn:microsoft.com/office/officeart/2005/8/layout/orgChart1"/>
    <dgm:cxn modelId="{A3E050E8-28DD-469A-AEE9-BF75ADA4E378}" type="presParOf" srcId="{545F509C-1461-432B-86AC-E5E4B74ECE7B}" destId="{0554A89B-62A2-4742-BA0C-44840D488017}" srcOrd="1" destOrd="0" presId="urn:microsoft.com/office/officeart/2005/8/layout/orgChart1"/>
    <dgm:cxn modelId="{82FB41E5-C4C2-48F0-A275-CCB586447248}" type="presParOf" srcId="{0554A89B-62A2-4742-BA0C-44840D488017}" destId="{8FB8650D-D77B-4805-83AD-1B36F0B69159}" srcOrd="0" destOrd="0" presId="urn:microsoft.com/office/officeart/2005/8/layout/orgChart1"/>
    <dgm:cxn modelId="{E1B51BC0-755A-4D3C-AB6D-C77884862E99}" type="presParOf" srcId="{8FB8650D-D77B-4805-83AD-1B36F0B69159}" destId="{FBB50CC8-A842-4167-B60F-261A60F758A5}" srcOrd="0" destOrd="0" presId="urn:microsoft.com/office/officeart/2005/8/layout/orgChart1"/>
    <dgm:cxn modelId="{81E84730-8D6A-4FE6-B7CA-2EF0EBFECE3F}" type="presParOf" srcId="{8FB8650D-D77B-4805-83AD-1B36F0B69159}" destId="{DEA38CB9-A56F-445E-858D-06A1169D3476}" srcOrd="1" destOrd="0" presId="urn:microsoft.com/office/officeart/2005/8/layout/orgChart1"/>
    <dgm:cxn modelId="{9F16718B-8B09-457A-BF35-C9F69CADF8A2}" type="presParOf" srcId="{0554A89B-62A2-4742-BA0C-44840D488017}" destId="{59BABAC9-06FC-489D-92F7-0BC2E0ABC615}" srcOrd="1" destOrd="0" presId="urn:microsoft.com/office/officeart/2005/8/layout/orgChart1"/>
    <dgm:cxn modelId="{3BFA210F-E70F-433D-AA82-E4CF41990FF0}" type="presParOf" srcId="{59BABAC9-06FC-489D-92F7-0BC2E0ABC615}" destId="{2BD29D9B-B9F9-4FDD-A6DA-7142CAB7B036}" srcOrd="0" destOrd="0" presId="urn:microsoft.com/office/officeart/2005/8/layout/orgChart1"/>
    <dgm:cxn modelId="{0A769933-79B8-4896-8477-56953D8FAB82}" type="presParOf" srcId="{59BABAC9-06FC-489D-92F7-0BC2E0ABC615}" destId="{C921FA89-F467-4B6F-9621-45761A0125AB}" srcOrd="1" destOrd="0" presId="urn:microsoft.com/office/officeart/2005/8/layout/orgChart1"/>
    <dgm:cxn modelId="{5A09306C-9E49-4878-A87E-E651EF338FE6}" type="presParOf" srcId="{C921FA89-F467-4B6F-9621-45761A0125AB}" destId="{F8665103-887A-49B8-8D96-BE7B494900A4}" srcOrd="0" destOrd="0" presId="urn:microsoft.com/office/officeart/2005/8/layout/orgChart1"/>
    <dgm:cxn modelId="{B05CED7B-7010-4991-A400-161608FC5181}" type="presParOf" srcId="{F8665103-887A-49B8-8D96-BE7B494900A4}" destId="{9A6AAE14-9DDA-46C9-A371-B89BF76DE94A}" srcOrd="0" destOrd="0" presId="urn:microsoft.com/office/officeart/2005/8/layout/orgChart1"/>
    <dgm:cxn modelId="{A679DBC3-2EF1-446C-BAB7-7BBA3549B36C}" type="presParOf" srcId="{F8665103-887A-49B8-8D96-BE7B494900A4}" destId="{BB134EE7-80DE-4F68-AB9D-42A71E1929CE}" srcOrd="1" destOrd="0" presId="urn:microsoft.com/office/officeart/2005/8/layout/orgChart1"/>
    <dgm:cxn modelId="{2BA8B69E-6AF6-4BF2-A9A2-3F138476E1B8}" type="presParOf" srcId="{C921FA89-F467-4B6F-9621-45761A0125AB}" destId="{6E2C320B-82FA-4BA5-9D24-B25705BD4CD2}" srcOrd="1" destOrd="0" presId="urn:microsoft.com/office/officeart/2005/8/layout/orgChart1"/>
    <dgm:cxn modelId="{21DCD01A-8599-4BF3-B27D-31F49B64FA5E}" type="presParOf" srcId="{C921FA89-F467-4B6F-9621-45761A0125AB}" destId="{EDD711FC-97BE-4D1D-8271-36833250EE03}" srcOrd="2" destOrd="0" presId="urn:microsoft.com/office/officeart/2005/8/layout/orgChart1"/>
    <dgm:cxn modelId="{38CF13C1-9C4A-47B5-9C5E-7E85B37795F8}" type="presParOf" srcId="{59BABAC9-06FC-489D-92F7-0BC2E0ABC615}" destId="{229E0324-D00C-43DC-8CCD-7694140EA8BE}" srcOrd="2" destOrd="0" presId="urn:microsoft.com/office/officeart/2005/8/layout/orgChart1"/>
    <dgm:cxn modelId="{D0EFF119-74B9-4ED2-AF24-1EA4A9C0AA9D}" type="presParOf" srcId="{59BABAC9-06FC-489D-92F7-0BC2E0ABC615}" destId="{C36BE388-98E9-4F3E-8524-4FE044EF4171}" srcOrd="3" destOrd="0" presId="urn:microsoft.com/office/officeart/2005/8/layout/orgChart1"/>
    <dgm:cxn modelId="{FF56AF7C-BEA3-4DA5-BDD2-C46CD82CCF17}" type="presParOf" srcId="{C36BE388-98E9-4F3E-8524-4FE044EF4171}" destId="{4CB72AB3-A916-4BF4-9CBB-554A17AD068E}" srcOrd="0" destOrd="0" presId="urn:microsoft.com/office/officeart/2005/8/layout/orgChart1"/>
    <dgm:cxn modelId="{961DD5A1-4ED9-4D3F-9F41-BDE5ABF59411}" type="presParOf" srcId="{4CB72AB3-A916-4BF4-9CBB-554A17AD068E}" destId="{F0169B50-5D09-4E4D-8580-961F9FEFE071}" srcOrd="0" destOrd="0" presId="urn:microsoft.com/office/officeart/2005/8/layout/orgChart1"/>
    <dgm:cxn modelId="{AC7AB91D-9B0C-4440-AA8B-80E5C5CC73BA}" type="presParOf" srcId="{4CB72AB3-A916-4BF4-9CBB-554A17AD068E}" destId="{EDE09A34-229E-4B26-A511-4120F60DC51A}" srcOrd="1" destOrd="0" presId="urn:microsoft.com/office/officeart/2005/8/layout/orgChart1"/>
    <dgm:cxn modelId="{37AE551B-23E4-4959-B735-F55B0FBBC5F0}" type="presParOf" srcId="{C36BE388-98E9-4F3E-8524-4FE044EF4171}" destId="{878C2C47-966A-466B-A5E1-BB96D39CD1DF}" srcOrd="1" destOrd="0" presId="urn:microsoft.com/office/officeart/2005/8/layout/orgChart1"/>
    <dgm:cxn modelId="{C8DDA12B-A0A2-43EB-952D-A049E69760A4}" type="presParOf" srcId="{C36BE388-98E9-4F3E-8524-4FE044EF4171}" destId="{2628971C-07B1-4E9B-98E1-2FE07D2D1A20}" srcOrd="2" destOrd="0" presId="urn:microsoft.com/office/officeart/2005/8/layout/orgChart1"/>
    <dgm:cxn modelId="{00E898F5-1079-41C7-8DD5-B02486C5F872}" type="presParOf" srcId="{59BABAC9-06FC-489D-92F7-0BC2E0ABC615}" destId="{BCB688BA-D31E-4E1B-BC9C-E7EE5B0F5AC5}" srcOrd="4" destOrd="0" presId="urn:microsoft.com/office/officeart/2005/8/layout/orgChart1"/>
    <dgm:cxn modelId="{7F5857D8-9A8C-4B40-B7D8-8535D9B84095}" type="presParOf" srcId="{59BABAC9-06FC-489D-92F7-0BC2E0ABC615}" destId="{2AD3AC8C-41B1-4C8E-A350-77A3E5504F72}" srcOrd="5" destOrd="0" presId="urn:microsoft.com/office/officeart/2005/8/layout/orgChart1"/>
    <dgm:cxn modelId="{9E7E3D3F-2B5A-461E-8907-29D0D8A1BFA7}" type="presParOf" srcId="{2AD3AC8C-41B1-4C8E-A350-77A3E5504F72}" destId="{9932E11C-CC6E-47EB-92C8-59E7E7E8247B}" srcOrd="0" destOrd="0" presId="urn:microsoft.com/office/officeart/2005/8/layout/orgChart1"/>
    <dgm:cxn modelId="{A3D6B3FF-2F4C-4572-A1BE-67894277FAE8}" type="presParOf" srcId="{9932E11C-CC6E-47EB-92C8-59E7E7E8247B}" destId="{EF9E14AC-CF93-4143-B5F9-C8688A49327A}" srcOrd="0" destOrd="0" presId="urn:microsoft.com/office/officeart/2005/8/layout/orgChart1"/>
    <dgm:cxn modelId="{F1D53EEB-8165-40D8-BDED-98C845E7DA0C}" type="presParOf" srcId="{9932E11C-CC6E-47EB-92C8-59E7E7E8247B}" destId="{F99B85B7-0166-4011-8D0D-A96BF15D1E8E}" srcOrd="1" destOrd="0" presId="urn:microsoft.com/office/officeart/2005/8/layout/orgChart1"/>
    <dgm:cxn modelId="{D3783025-6000-4BFE-B44E-51CE24691D04}" type="presParOf" srcId="{2AD3AC8C-41B1-4C8E-A350-77A3E5504F72}" destId="{9FC1CBDD-5DD5-445D-AE43-2D0891C4FE18}" srcOrd="1" destOrd="0" presId="urn:microsoft.com/office/officeart/2005/8/layout/orgChart1"/>
    <dgm:cxn modelId="{E8214090-1016-4CD0-B3EB-6E8ECD170C0E}" type="presParOf" srcId="{2AD3AC8C-41B1-4C8E-A350-77A3E5504F72}" destId="{175B4CF2-8B20-4EDB-ABFF-CD4010201367}" srcOrd="2" destOrd="0" presId="urn:microsoft.com/office/officeart/2005/8/layout/orgChart1"/>
    <dgm:cxn modelId="{B9E6693A-4C8D-49FE-89BD-0356D77D4067}" type="presParOf" srcId="{0554A89B-62A2-4742-BA0C-44840D488017}" destId="{E4D9623E-9F7D-4353-9218-7D1BE32B22C5}" srcOrd="2" destOrd="0" presId="urn:microsoft.com/office/officeart/2005/8/layout/orgChart1"/>
    <dgm:cxn modelId="{2F61F6F7-CA82-421A-9FE7-5FF482D46CB0}" type="presParOf" srcId="{545F509C-1461-432B-86AC-E5E4B74ECE7B}" destId="{1C313B8D-2E99-4939-B8B8-B590204F0228}" srcOrd="2" destOrd="0" presId="urn:microsoft.com/office/officeart/2005/8/layout/orgChart1"/>
    <dgm:cxn modelId="{11BCAACC-CA32-4D01-A40E-FE6DA5DB65BE}" type="presParOf" srcId="{545F509C-1461-432B-86AC-E5E4B74ECE7B}" destId="{A38AFF52-5178-4446-B99E-F08901FCB428}" srcOrd="3" destOrd="0" presId="urn:microsoft.com/office/officeart/2005/8/layout/orgChart1"/>
    <dgm:cxn modelId="{DF46DEF0-B9A4-491D-BA5D-959C5A17E205}" type="presParOf" srcId="{A38AFF52-5178-4446-B99E-F08901FCB428}" destId="{92F717F1-5001-423B-BFD6-37BA3FB94CF8}" srcOrd="0" destOrd="0" presId="urn:microsoft.com/office/officeart/2005/8/layout/orgChart1"/>
    <dgm:cxn modelId="{77C41BD7-CB01-4469-A3EC-1A61AB89C825}" type="presParOf" srcId="{92F717F1-5001-423B-BFD6-37BA3FB94CF8}" destId="{BCB8FB69-5B57-4493-8AF3-AE76DA5580AA}" srcOrd="0" destOrd="0" presId="urn:microsoft.com/office/officeart/2005/8/layout/orgChart1"/>
    <dgm:cxn modelId="{62FB886B-42D5-4A97-AE08-09AC7E96336B}" type="presParOf" srcId="{92F717F1-5001-423B-BFD6-37BA3FB94CF8}" destId="{749BA842-0F4B-4423-8379-2651A5A0F380}" srcOrd="1" destOrd="0" presId="urn:microsoft.com/office/officeart/2005/8/layout/orgChart1"/>
    <dgm:cxn modelId="{853CD74D-0E0C-46DF-8420-4DDB08A5A608}" type="presParOf" srcId="{A38AFF52-5178-4446-B99E-F08901FCB428}" destId="{DA45BE7A-2750-4E13-813D-01E605C84EF3}" srcOrd="1" destOrd="0" presId="urn:microsoft.com/office/officeart/2005/8/layout/orgChart1"/>
    <dgm:cxn modelId="{3DE2EF35-33ED-42D9-B948-1A3B088BDB7C}" type="presParOf" srcId="{DA45BE7A-2750-4E13-813D-01E605C84EF3}" destId="{6FCB83C5-096F-4BA5-B5A5-816431EE427C}" srcOrd="0" destOrd="0" presId="urn:microsoft.com/office/officeart/2005/8/layout/orgChart1"/>
    <dgm:cxn modelId="{2376711E-853A-4212-978D-45A5D2826F32}" type="presParOf" srcId="{DA45BE7A-2750-4E13-813D-01E605C84EF3}" destId="{763CA118-5F4C-4AE2-88AB-63E165BB1857}" srcOrd="1" destOrd="0" presId="urn:microsoft.com/office/officeart/2005/8/layout/orgChart1"/>
    <dgm:cxn modelId="{22C3D611-859A-4567-AB0E-A174AC18BFE5}" type="presParOf" srcId="{763CA118-5F4C-4AE2-88AB-63E165BB1857}" destId="{06456216-1510-4434-BE20-CC9E4C96E924}" srcOrd="0" destOrd="0" presId="urn:microsoft.com/office/officeart/2005/8/layout/orgChart1"/>
    <dgm:cxn modelId="{DC69A83B-75E9-4C51-90DD-D59451721152}" type="presParOf" srcId="{06456216-1510-4434-BE20-CC9E4C96E924}" destId="{9BFCA1CC-B89B-466C-BAE1-8E208D035D55}" srcOrd="0" destOrd="0" presId="urn:microsoft.com/office/officeart/2005/8/layout/orgChart1"/>
    <dgm:cxn modelId="{D1A9C6F3-4903-4663-91BB-A6F8C3107F28}" type="presParOf" srcId="{06456216-1510-4434-BE20-CC9E4C96E924}" destId="{B7A32BCD-334C-4D58-8E85-0D37EE49FF3B}" srcOrd="1" destOrd="0" presId="urn:microsoft.com/office/officeart/2005/8/layout/orgChart1"/>
    <dgm:cxn modelId="{A83AD5E9-8B49-4827-89A0-495EBF295485}" type="presParOf" srcId="{763CA118-5F4C-4AE2-88AB-63E165BB1857}" destId="{5FF1FF1A-327E-4109-8911-C29DB730EA12}" srcOrd="1" destOrd="0" presId="urn:microsoft.com/office/officeart/2005/8/layout/orgChart1"/>
    <dgm:cxn modelId="{EDC5F095-4CB2-47F4-8409-2DDF3225A163}" type="presParOf" srcId="{763CA118-5F4C-4AE2-88AB-63E165BB1857}" destId="{B32A43F8-7C44-408F-828B-14EB72AB404A}" srcOrd="2" destOrd="0" presId="urn:microsoft.com/office/officeart/2005/8/layout/orgChart1"/>
    <dgm:cxn modelId="{FF8CF33F-B914-4C72-9C88-364A321739A4}" type="presParOf" srcId="{A38AFF52-5178-4446-B99E-F08901FCB428}" destId="{DA4ECF9E-162B-4F59-8D67-6AC499FB8120}" srcOrd="2" destOrd="0" presId="urn:microsoft.com/office/officeart/2005/8/layout/orgChart1"/>
    <dgm:cxn modelId="{8710C4D8-DC17-4CD5-9B31-8B99FA98A991}" type="presParOf" srcId="{545F509C-1461-432B-86AC-E5E4B74ECE7B}" destId="{EF74D006-319D-43BA-ADE1-4656213CCE28}" srcOrd="4" destOrd="0" presId="urn:microsoft.com/office/officeart/2005/8/layout/orgChart1"/>
    <dgm:cxn modelId="{AA97CD75-6067-416F-AEA4-D6C7500CEA79}" type="presParOf" srcId="{545F509C-1461-432B-86AC-E5E4B74ECE7B}" destId="{6273F7AC-48C2-4271-ABA4-B5A1ABCD0EFA}" srcOrd="5" destOrd="0" presId="urn:microsoft.com/office/officeart/2005/8/layout/orgChart1"/>
    <dgm:cxn modelId="{45E8C88C-1A61-4B72-92A2-2CD781E9A2CA}" type="presParOf" srcId="{6273F7AC-48C2-4271-ABA4-B5A1ABCD0EFA}" destId="{292877ED-28AC-4CC6-9278-01339A7B8A5F}" srcOrd="0" destOrd="0" presId="urn:microsoft.com/office/officeart/2005/8/layout/orgChart1"/>
    <dgm:cxn modelId="{27E25CBB-9511-4473-ACEE-3E7CBB29A9F6}" type="presParOf" srcId="{292877ED-28AC-4CC6-9278-01339A7B8A5F}" destId="{49185CA8-D3B4-4AD3-942A-D6CD00B892F9}" srcOrd="0" destOrd="0" presId="urn:microsoft.com/office/officeart/2005/8/layout/orgChart1"/>
    <dgm:cxn modelId="{AB5A285D-F431-4AC1-B81E-064D0F806414}" type="presParOf" srcId="{292877ED-28AC-4CC6-9278-01339A7B8A5F}" destId="{688648F7-BE34-4CCC-8D1C-54544B72D552}" srcOrd="1" destOrd="0" presId="urn:microsoft.com/office/officeart/2005/8/layout/orgChart1"/>
    <dgm:cxn modelId="{A3EE2787-3384-456E-B0AE-9507C10DB582}" type="presParOf" srcId="{6273F7AC-48C2-4271-ABA4-B5A1ABCD0EFA}" destId="{E4FEE345-C9EE-432D-B3E2-C81164FF265A}" srcOrd="1" destOrd="0" presId="urn:microsoft.com/office/officeart/2005/8/layout/orgChart1"/>
    <dgm:cxn modelId="{15599111-0A44-4DDA-AEB0-2588857CD53D}" type="presParOf" srcId="{E4FEE345-C9EE-432D-B3E2-C81164FF265A}" destId="{903A0753-18A2-4F16-A7CB-9643502FC3A5}" srcOrd="0" destOrd="0" presId="urn:microsoft.com/office/officeart/2005/8/layout/orgChart1"/>
    <dgm:cxn modelId="{4B8E79B2-5450-4D82-BD4C-F21069E65328}" type="presParOf" srcId="{E4FEE345-C9EE-432D-B3E2-C81164FF265A}" destId="{8EC4BFC7-E665-4214-9B1A-85688FFF1E7C}" srcOrd="1" destOrd="0" presId="urn:microsoft.com/office/officeart/2005/8/layout/orgChart1"/>
    <dgm:cxn modelId="{B3C03C4A-DFA1-4AA4-AA24-00D01812286B}" type="presParOf" srcId="{8EC4BFC7-E665-4214-9B1A-85688FFF1E7C}" destId="{0D191ADE-8B51-48F0-A91E-A78AD7D6BD2E}" srcOrd="0" destOrd="0" presId="urn:microsoft.com/office/officeart/2005/8/layout/orgChart1"/>
    <dgm:cxn modelId="{7100EBCD-81BE-4192-8E8A-6B348B8A3AF7}" type="presParOf" srcId="{0D191ADE-8B51-48F0-A91E-A78AD7D6BD2E}" destId="{BD534855-81AB-48F1-90B7-9A4084C4D6E0}" srcOrd="0" destOrd="0" presId="urn:microsoft.com/office/officeart/2005/8/layout/orgChart1"/>
    <dgm:cxn modelId="{A28A9473-446A-42AD-B6ED-7B0CB30CC02E}" type="presParOf" srcId="{0D191ADE-8B51-48F0-A91E-A78AD7D6BD2E}" destId="{038A14CB-3882-4C88-947E-3004FBD53698}" srcOrd="1" destOrd="0" presId="urn:microsoft.com/office/officeart/2005/8/layout/orgChart1"/>
    <dgm:cxn modelId="{5A6E8AA7-2AB9-429D-A258-6ADD5F9BE103}" type="presParOf" srcId="{8EC4BFC7-E665-4214-9B1A-85688FFF1E7C}" destId="{5A9F8D4F-3AE0-4AEF-8834-C9A42EC63849}" srcOrd="1" destOrd="0" presId="urn:microsoft.com/office/officeart/2005/8/layout/orgChart1"/>
    <dgm:cxn modelId="{47999750-3F4F-42CE-9D11-1FB8CDF1DEE5}" type="presParOf" srcId="{8EC4BFC7-E665-4214-9B1A-85688FFF1E7C}" destId="{72C3FF0D-D974-459B-A40D-E33699B34A77}" srcOrd="2" destOrd="0" presId="urn:microsoft.com/office/officeart/2005/8/layout/orgChart1"/>
    <dgm:cxn modelId="{4F4AA515-0338-4B63-9DC9-F2ECF6D3BF94}" type="presParOf" srcId="{E4FEE345-C9EE-432D-B3E2-C81164FF265A}" destId="{D69736AF-818E-4FF2-9E15-FD7F37337ED0}" srcOrd="2" destOrd="0" presId="urn:microsoft.com/office/officeart/2005/8/layout/orgChart1"/>
    <dgm:cxn modelId="{E31ACD8E-0D0B-4BB1-9916-E10B6E6FC071}" type="presParOf" srcId="{E4FEE345-C9EE-432D-B3E2-C81164FF265A}" destId="{6262930E-5187-4FCA-94A4-D1A8C5027A6E}" srcOrd="3" destOrd="0" presId="urn:microsoft.com/office/officeart/2005/8/layout/orgChart1"/>
    <dgm:cxn modelId="{D9FA7C3A-09C8-484B-9FC5-93CB205E3EB8}" type="presParOf" srcId="{6262930E-5187-4FCA-94A4-D1A8C5027A6E}" destId="{FDE69E2E-F396-4DE8-A827-6BA0D33F9660}" srcOrd="0" destOrd="0" presId="urn:microsoft.com/office/officeart/2005/8/layout/orgChart1"/>
    <dgm:cxn modelId="{2760835D-3255-4778-ACCF-EEBEB09FF583}" type="presParOf" srcId="{FDE69E2E-F396-4DE8-A827-6BA0D33F9660}" destId="{74237539-9252-4E33-840B-A720EBBBAB20}" srcOrd="0" destOrd="0" presId="urn:microsoft.com/office/officeart/2005/8/layout/orgChart1"/>
    <dgm:cxn modelId="{7C1CD900-BF16-4C8B-9945-ADEC30F4A1AC}" type="presParOf" srcId="{FDE69E2E-F396-4DE8-A827-6BA0D33F9660}" destId="{2B456191-4787-4E4F-B315-9994B427B7F5}" srcOrd="1" destOrd="0" presId="urn:microsoft.com/office/officeart/2005/8/layout/orgChart1"/>
    <dgm:cxn modelId="{68482385-5489-4371-8F04-C8ADD3FEE26C}" type="presParOf" srcId="{6262930E-5187-4FCA-94A4-D1A8C5027A6E}" destId="{012A3C29-6F51-4DCC-966A-0A632525AC25}" srcOrd="1" destOrd="0" presId="urn:microsoft.com/office/officeart/2005/8/layout/orgChart1"/>
    <dgm:cxn modelId="{14F5710A-7284-4667-AF85-E87D1F1ED92B}" type="presParOf" srcId="{6262930E-5187-4FCA-94A4-D1A8C5027A6E}" destId="{E2A4D7EA-4988-4041-BAB7-A590CEF89AD9}" srcOrd="2" destOrd="0" presId="urn:microsoft.com/office/officeart/2005/8/layout/orgChart1"/>
    <dgm:cxn modelId="{0A970DD0-24F3-4657-9E5C-230A87BF094A}" type="presParOf" srcId="{E4FEE345-C9EE-432D-B3E2-C81164FF265A}" destId="{041CD75F-9226-4789-B4F9-EDE608653438}" srcOrd="4" destOrd="0" presId="urn:microsoft.com/office/officeart/2005/8/layout/orgChart1"/>
    <dgm:cxn modelId="{0ADC0A92-2988-4605-BEA6-F30B2567A08B}" type="presParOf" srcId="{E4FEE345-C9EE-432D-B3E2-C81164FF265A}" destId="{36B5DE27-883E-4E50-89E2-04B46883FF37}" srcOrd="5" destOrd="0" presId="urn:microsoft.com/office/officeart/2005/8/layout/orgChart1"/>
    <dgm:cxn modelId="{D4E4AFFE-BA74-47B9-91B4-E2E2D9382CFF}" type="presParOf" srcId="{36B5DE27-883E-4E50-89E2-04B46883FF37}" destId="{CED0D747-F4B5-4AAD-9DFD-EB7179A43A1B}" srcOrd="0" destOrd="0" presId="urn:microsoft.com/office/officeart/2005/8/layout/orgChart1"/>
    <dgm:cxn modelId="{E61EE6E7-0374-4DCD-B791-A96C76363EF1}" type="presParOf" srcId="{CED0D747-F4B5-4AAD-9DFD-EB7179A43A1B}" destId="{4AA829C8-06BA-4B84-93E4-1E6F375486E3}" srcOrd="0" destOrd="0" presId="urn:microsoft.com/office/officeart/2005/8/layout/orgChart1"/>
    <dgm:cxn modelId="{81104A33-D5C6-4638-95F8-6021781ECEEE}" type="presParOf" srcId="{CED0D747-F4B5-4AAD-9DFD-EB7179A43A1B}" destId="{D1FC4A9A-AB75-4619-BFC9-9834988F4451}" srcOrd="1" destOrd="0" presId="urn:microsoft.com/office/officeart/2005/8/layout/orgChart1"/>
    <dgm:cxn modelId="{5C5B08E5-9A9D-4DA7-8E20-E96FAA74D700}" type="presParOf" srcId="{36B5DE27-883E-4E50-89E2-04B46883FF37}" destId="{DA92C326-5F5F-4250-903B-36D586013190}" srcOrd="1" destOrd="0" presId="urn:microsoft.com/office/officeart/2005/8/layout/orgChart1"/>
    <dgm:cxn modelId="{50473413-5B79-430E-A9F7-7C5357F61B8E}" type="presParOf" srcId="{36B5DE27-883E-4E50-89E2-04B46883FF37}" destId="{D5886D09-8AB9-4175-9C0C-1299541FA847}" srcOrd="2" destOrd="0" presId="urn:microsoft.com/office/officeart/2005/8/layout/orgChart1"/>
    <dgm:cxn modelId="{37E953FB-376B-4421-8670-C6FF8D604355}" type="presParOf" srcId="{E4FEE345-C9EE-432D-B3E2-C81164FF265A}" destId="{67BFBBF4-E65F-4F49-81D2-2971DF5E167B}" srcOrd="6" destOrd="0" presId="urn:microsoft.com/office/officeart/2005/8/layout/orgChart1"/>
    <dgm:cxn modelId="{51345914-5108-4324-9432-568D14B893A5}" type="presParOf" srcId="{E4FEE345-C9EE-432D-B3E2-C81164FF265A}" destId="{AA0D1FDE-E880-4FEF-B490-9303FF962E30}" srcOrd="7" destOrd="0" presId="urn:microsoft.com/office/officeart/2005/8/layout/orgChart1"/>
    <dgm:cxn modelId="{16431574-6CCD-4B78-8827-0BD30599B522}" type="presParOf" srcId="{AA0D1FDE-E880-4FEF-B490-9303FF962E30}" destId="{AFC8E5FF-69FF-4811-835A-C4300EBAA906}" srcOrd="0" destOrd="0" presId="urn:microsoft.com/office/officeart/2005/8/layout/orgChart1"/>
    <dgm:cxn modelId="{5D166CF3-1FBD-49A7-86E7-70DB103843F2}" type="presParOf" srcId="{AFC8E5FF-69FF-4811-835A-C4300EBAA906}" destId="{FE1410A3-5C04-48EC-B3D9-F0AD814BD0EB}" srcOrd="0" destOrd="0" presId="urn:microsoft.com/office/officeart/2005/8/layout/orgChart1"/>
    <dgm:cxn modelId="{9403BD50-4764-4BE0-B76B-604719927BCF}" type="presParOf" srcId="{AFC8E5FF-69FF-4811-835A-C4300EBAA906}" destId="{E704A71C-A5B4-4B05-A800-B26434EBB34D}" srcOrd="1" destOrd="0" presId="urn:microsoft.com/office/officeart/2005/8/layout/orgChart1"/>
    <dgm:cxn modelId="{71C37AF0-424B-4126-89DE-56AFDCF95DDA}" type="presParOf" srcId="{AA0D1FDE-E880-4FEF-B490-9303FF962E30}" destId="{14A0514B-26B3-493B-9166-29A39467EBDE}" srcOrd="1" destOrd="0" presId="urn:microsoft.com/office/officeart/2005/8/layout/orgChart1"/>
    <dgm:cxn modelId="{4C12FF80-4777-4356-BADD-2CEFB8D78C90}" type="presParOf" srcId="{AA0D1FDE-E880-4FEF-B490-9303FF962E30}" destId="{5050134C-D21C-4E4E-AE6B-A5B360C6982C}" srcOrd="2" destOrd="0" presId="urn:microsoft.com/office/officeart/2005/8/layout/orgChart1"/>
    <dgm:cxn modelId="{D53EE450-F6AD-4624-8CF2-691DC815D842}" type="presParOf" srcId="{6273F7AC-48C2-4271-ABA4-B5A1ABCD0EFA}" destId="{D3EE7DE5-249B-4725-ADC5-4A6C5FD5C314}" srcOrd="2" destOrd="0" presId="urn:microsoft.com/office/officeart/2005/8/layout/orgChart1"/>
    <dgm:cxn modelId="{51A5BBB3-F890-4FF3-81D7-39370D8B0D97}" type="presParOf" srcId="{356CDEDD-FA43-4140-9FE2-9150EF49E741}" destId="{2A18EEA7-3D53-4D29-B09C-A928319A4ADE}" srcOrd="2" destOrd="0" presId="urn:microsoft.com/office/officeart/2005/8/layout/orgChart1"/>
    <dgm:cxn modelId="{A26B40D2-1B06-46F2-B2AF-2A415A09DFFA}" type="presParOf" srcId="{595EFA8D-7FBD-475D-96E7-53183669C42E}" destId="{A6FB0673-2E35-41F8-AC20-1CD5946A1F4C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4DE6B70-F1BB-46F1-A521-A5706A07D6E2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690DA512-0CBB-46C9-9676-F73A739FD657}">
      <dgm:prSet phldrT="[Текст]" custT="1"/>
      <dgm:spPr/>
      <dgm:t>
        <a:bodyPr/>
        <a:lstStyle/>
        <a:p>
          <a:r>
            <a:rPr lang="ru-RU" sz="2400" kern="1200" dirty="0" smtClean="0">
              <a:solidFill>
                <a:srgbClr val="C00000"/>
              </a:solidFill>
              <a:latin typeface="Arial" pitchFamily="34" charset="0"/>
              <a:ea typeface="+mn-ea"/>
              <a:cs typeface="Arial" pitchFamily="34" charset="0"/>
            </a:rPr>
            <a:t>Этап 3  </a:t>
          </a:r>
          <a:endParaRPr lang="ru-RU" sz="2400" kern="1200" dirty="0">
            <a:solidFill>
              <a:srgbClr val="C00000"/>
            </a:solidFill>
            <a:latin typeface="Arial" pitchFamily="34" charset="0"/>
            <a:ea typeface="+mn-ea"/>
            <a:cs typeface="Arial" pitchFamily="34" charset="0"/>
          </a:endParaRPr>
        </a:p>
      </dgm:t>
    </dgm:pt>
    <dgm:pt modelId="{FA881D9B-0EF7-45F6-8D07-0DD695BFB235}" type="parTrans" cxnId="{C72F03FC-F97D-42B9-A3AF-023B8BBFDBE3}">
      <dgm:prSet/>
      <dgm:spPr/>
      <dgm:t>
        <a:bodyPr/>
        <a:lstStyle/>
        <a:p>
          <a:endParaRPr lang="ru-RU" sz="1100"/>
        </a:p>
      </dgm:t>
    </dgm:pt>
    <dgm:pt modelId="{E21979C8-E930-4CBA-8F6E-093016F6257D}" type="sibTrans" cxnId="{C72F03FC-F97D-42B9-A3AF-023B8BBFDBE3}">
      <dgm:prSet/>
      <dgm:spPr/>
      <dgm:t>
        <a:bodyPr/>
        <a:lstStyle/>
        <a:p>
          <a:endParaRPr lang="ru-RU" sz="1100"/>
        </a:p>
      </dgm:t>
    </dgm:pt>
    <dgm:pt modelId="{3F6A70BB-7ADE-4825-9CBD-B1F130562ED7}">
      <dgm:prSet phldrT="[Текст]" custT="1"/>
      <dgm:spPr/>
      <dgm:t>
        <a:bodyPr/>
        <a:lstStyle/>
        <a:p>
          <a:r>
            <a:rPr lang="ru-RU" sz="14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Вариант 1.  </a:t>
          </a:r>
          <a:r>
            <a:rPr lang="ru-RU" sz="1400" dirty="0" smtClean="0">
              <a:latin typeface="Arial" pitchFamily="34" charset="0"/>
              <a:cs typeface="Arial" pitchFamily="34" charset="0"/>
            </a:rPr>
            <a:t>Изучить механизм участия в мероприятиях    региональных проектов                     и воспользоваться им   </a:t>
          </a:r>
          <a:endParaRPr lang="ru-RU" sz="1400" dirty="0">
            <a:latin typeface="Arial" pitchFamily="34" charset="0"/>
            <a:cs typeface="Arial" pitchFamily="34" charset="0"/>
          </a:endParaRPr>
        </a:p>
      </dgm:t>
    </dgm:pt>
    <dgm:pt modelId="{7EC44329-3BE8-4F82-B65F-8DD29EEC9990}" type="parTrans" cxnId="{957C5E56-FBB5-4ACD-A5DB-ECCA789652F6}">
      <dgm:prSet/>
      <dgm:spPr/>
      <dgm:t>
        <a:bodyPr/>
        <a:lstStyle/>
        <a:p>
          <a:endParaRPr lang="ru-RU" sz="1100"/>
        </a:p>
      </dgm:t>
    </dgm:pt>
    <dgm:pt modelId="{862544A4-0AF2-435C-B95C-2B521DC834A5}" type="sibTrans" cxnId="{957C5E56-FBB5-4ACD-A5DB-ECCA789652F6}">
      <dgm:prSet/>
      <dgm:spPr/>
      <dgm:t>
        <a:bodyPr/>
        <a:lstStyle/>
        <a:p>
          <a:endParaRPr lang="ru-RU" sz="1100"/>
        </a:p>
      </dgm:t>
    </dgm:pt>
    <dgm:pt modelId="{407B02F3-E226-410A-A2A3-AAFDEAC7A37E}">
      <dgm:prSet phldrT="[Текст]" custT="1"/>
      <dgm:spPr/>
      <dgm:t>
        <a:bodyPr/>
        <a:lstStyle/>
        <a:p>
          <a:r>
            <a:rPr lang="ru-RU" sz="14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Вариант 2. </a:t>
          </a:r>
          <a:r>
            <a:rPr lang="ru-RU" sz="1400" dirty="0" smtClean="0">
              <a:latin typeface="Arial" pitchFamily="34" charset="0"/>
              <a:cs typeface="Arial" pitchFamily="34" charset="0"/>
            </a:rPr>
            <a:t>Сначала добиться, чтобы приоритетные мероприятия вошли в региональный проект, а потом воспользоваться ими</a:t>
          </a:r>
          <a:endParaRPr lang="ru-RU" sz="1400" dirty="0">
            <a:latin typeface="Arial" pitchFamily="34" charset="0"/>
            <a:cs typeface="Arial" pitchFamily="34" charset="0"/>
          </a:endParaRPr>
        </a:p>
      </dgm:t>
    </dgm:pt>
    <dgm:pt modelId="{671E5B2C-D2E0-4336-9646-CEB3E5AC2661}" type="parTrans" cxnId="{B0094F16-427F-446D-ADD7-EF24D4681A70}">
      <dgm:prSet/>
      <dgm:spPr/>
      <dgm:t>
        <a:bodyPr/>
        <a:lstStyle/>
        <a:p>
          <a:endParaRPr lang="ru-RU" sz="1100"/>
        </a:p>
      </dgm:t>
    </dgm:pt>
    <dgm:pt modelId="{96F3D990-CFDC-44E7-8888-146B8676E8CF}" type="sibTrans" cxnId="{B0094F16-427F-446D-ADD7-EF24D4681A70}">
      <dgm:prSet/>
      <dgm:spPr/>
      <dgm:t>
        <a:bodyPr/>
        <a:lstStyle/>
        <a:p>
          <a:endParaRPr lang="ru-RU" sz="1100"/>
        </a:p>
      </dgm:t>
    </dgm:pt>
    <dgm:pt modelId="{58FC0298-D3E7-4997-8171-8AA32154ED02}" type="pres">
      <dgm:prSet presAssocID="{C4DE6B70-F1BB-46F1-A521-A5706A07D6E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1785CA3-BD75-4437-BC26-3775D1535459}" type="pres">
      <dgm:prSet presAssocID="{690DA512-0CBB-46C9-9676-F73A739FD657}" presName="hierRoot1" presStyleCnt="0">
        <dgm:presLayoutVars>
          <dgm:hierBranch val="init"/>
        </dgm:presLayoutVars>
      </dgm:prSet>
      <dgm:spPr/>
    </dgm:pt>
    <dgm:pt modelId="{CD95B545-5EE0-4E05-B39C-5B4333F7DA11}" type="pres">
      <dgm:prSet presAssocID="{690DA512-0CBB-46C9-9676-F73A739FD657}" presName="rootComposite1" presStyleCnt="0"/>
      <dgm:spPr/>
    </dgm:pt>
    <dgm:pt modelId="{1B30CA92-4F25-43CB-9D55-3D62C28F63F0}" type="pres">
      <dgm:prSet presAssocID="{690DA512-0CBB-46C9-9676-F73A739FD657}" presName="rootText1" presStyleLbl="node0" presStyleIdx="0" presStyleCnt="1" custScaleY="4248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6B7F4D6-3F55-47F3-A073-CE2B03EDC921}" type="pres">
      <dgm:prSet presAssocID="{690DA512-0CBB-46C9-9676-F73A739FD657}" presName="rootConnector1" presStyleLbl="node1" presStyleIdx="0" presStyleCnt="0"/>
      <dgm:spPr/>
      <dgm:t>
        <a:bodyPr/>
        <a:lstStyle/>
        <a:p>
          <a:endParaRPr lang="ru-RU"/>
        </a:p>
      </dgm:t>
    </dgm:pt>
    <dgm:pt modelId="{0E90EAD8-1CFB-438B-B4E5-CE4E34BE99B8}" type="pres">
      <dgm:prSet presAssocID="{690DA512-0CBB-46C9-9676-F73A739FD657}" presName="hierChild2" presStyleCnt="0"/>
      <dgm:spPr/>
    </dgm:pt>
    <dgm:pt modelId="{6495B164-D75D-4BE5-A3A9-1E1C87BFAA80}" type="pres">
      <dgm:prSet presAssocID="{7EC44329-3BE8-4F82-B65F-8DD29EEC9990}" presName="Name37" presStyleLbl="parChTrans1D2" presStyleIdx="0" presStyleCnt="2"/>
      <dgm:spPr/>
      <dgm:t>
        <a:bodyPr/>
        <a:lstStyle/>
        <a:p>
          <a:endParaRPr lang="ru-RU"/>
        </a:p>
      </dgm:t>
    </dgm:pt>
    <dgm:pt modelId="{C343F590-2E29-4015-B55B-A6EFAA3B8179}" type="pres">
      <dgm:prSet presAssocID="{3F6A70BB-7ADE-4825-9CBD-B1F130562ED7}" presName="hierRoot2" presStyleCnt="0">
        <dgm:presLayoutVars>
          <dgm:hierBranch val="init"/>
        </dgm:presLayoutVars>
      </dgm:prSet>
      <dgm:spPr/>
    </dgm:pt>
    <dgm:pt modelId="{A5F08A00-F3AD-4E35-BCF5-D8DD12E10CE2}" type="pres">
      <dgm:prSet presAssocID="{3F6A70BB-7ADE-4825-9CBD-B1F130562ED7}" presName="rootComposite" presStyleCnt="0"/>
      <dgm:spPr/>
    </dgm:pt>
    <dgm:pt modelId="{AB63546D-F8C2-4B40-B5AE-5A7DAC8785F6}" type="pres">
      <dgm:prSet presAssocID="{3F6A70BB-7ADE-4825-9CBD-B1F130562ED7}" presName="rootText" presStyleLbl="node2" presStyleIdx="0" presStyleCnt="2" custScaleY="7450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E54EDE9-736D-4008-A549-6142D3526F32}" type="pres">
      <dgm:prSet presAssocID="{3F6A70BB-7ADE-4825-9CBD-B1F130562ED7}" presName="rootConnector" presStyleLbl="node2" presStyleIdx="0" presStyleCnt="2"/>
      <dgm:spPr/>
      <dgm:t>
        <a:bodyPr/>
        <a:lstStyle/>
        <a:p>
          <a:endParaRPr lang="ru-RU"/>
        </a:p>
      </dgm:t>
    </dgm:pt>
    <dgm:pt modelId="{9D4C6E51-DDE0-493A-9D5F-B890AFCA6F83}" type="pres">
      <dgm:prSet presAssocID="{3F6A70BB-7ADE-4825-9CBD-B1F130562ED7}" presName="hierChild4" presStyleCnt="0"/>
      <dgm:spPr/>
    </dgm:pt>
    <dgm:pt modelId="{2F3D10FE-9BC8-420D-A0CF-AE03F1B5118C}" type="pres">
      <dgm:prSet presAssocID="{3F6A70BB-7ADE-4825-9CBD-B1F130562ED7}" presName="hierChild5" presStyleCnt="0"/>
      <dgm:spPr/>
    </dgm:pt>
    <dgm:pt modelId="{905C404E-E034-469A-AAAA-B38EAB838D03}" type="pres">
      <dgm:prSet presAssocID="{671E5B2C-D2E0-4336-9646-CEB3E5AC2661}" presName="Name37" presStyleLbl="parChTrans1D2" presStyleIdx="1" presStyleCnt="2"/>
      <dgm:spPr/>
      <dgm:t>
        <a:bodyPr/>
        <a:lstStyle/>
        <a:p>
          <a:endParaRPr lang="ru-RU"/>
        </a:p>
      </dgm:t>
    </dgm:pt>
    <dgm:pt modelId="{54273B0B-1A32-458A-83E0-888DD54E847C}" type="pres">
      <dgm:prSet presAssocID="{407B02F3-E226-410A-A2A3-AAFDEAC7A37E}" presName="hierRoot2" presStyleCnt="0">
        <dgm:presLayoutVars>
          <dgm:hierBranch val="init"/>
        </dgm:presLayoutVars>
      </dgm:prSet>
      <dgm:spPr/>
    </dgm:pt>
    <dgm:pt modelId="{6042366F-2832-49BC-B371-49CDF5E474AF}" type="pres">
      <dgm:prSet presAssocID="{407B02F3-E226-410A-A2A3-AAFDEAC7A37E}" presName="rootComposite" presStyleCnt="0"/>
      <dgm:spPr/>
    </dgm:pt>
    <dgm:pt modelId="{0BEE86AA-20D3-40EB-B894-EED039D5ECD8}" type="pres">
      <dgm:prSet presAssocID="{407B02F3-E226-410A-A2A3-AAFDEAC7A37E}" presName="rootText" presStyleLbl="node2" presStyleIdx="1" presStyleCnt="2" custScaleX="119805" custScaleY="7027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19C9130-3F13-49F8-9155-C4AD6BC4FF46}" type="pres">
      <dgm:prSet presAssocID="{407B02F3-E226-410A-A2A3-AAFDEAC7A37E}" presName="rootConnector" presStyleLbl="node2" presStyleIdx="1" presStyleCnt="2"/>
      <dgm:spPr/>
      <dgm:t>
        <a:bodyPr/>
        <a:lstStyle/>
        <a:p>
          <a:endParaRPr lang="ru-RU"/>
        </a:p>
      </dgm:t>
    </dgm:pt>
    <dgm:pt modelId="{DBCC4B02-5D0A-49D2-85FC-279256BB880F}" type="pres">
      <dgm:prSet presAssocID="{407B02F3-E226-410A-A2A3-AAFDEAC7A37E}" presName="hierChild4" presStyleCnt="0"/>
      <dgm:spPr/>
    </dgm:pt>
    <dgm:pt modelId="{E0BF3615-6694-4A0B-B022-AC39DE7560C3}" type="pres">
      <dgm:prSet presAssocID="{407B02F3-E226-410A-A2A3-AAFDEAC7A37E}" presName="hierChild5" presStyleCnt="0"/>
      <dgm:spPr/>
    </dgm:pt>
    <dgm:pt modelId="{55F9013C-5B42-450D-8BF1-56EE70A7B7C9}" type="pres">
      <dgm:prSet presAssocID="{690DA512-0CBB-46C9-9676-F73A739FD657}" presName="hierChild3" presStyleCnt="0"/>
      <dgm:spPr/>
    </dgm:pt>
  </dgm:ptLst>
  <dgm:cxnLst>
    <dgm:cxn modelId="{DA79C4BF-7AC5-4DD9-BF00-BB86EC966A56}" type="presOf" srcId="{3F6A70BB-7ADE-4825-9CBD-B1F130562ED7}" destId="{9E54EDE9-736D-4008-A549-6142D3526F32}" srcOrd="1" destOrd="0" presId="urn:microsoft.com/office/officeart/2005/8/layout/orgChart1"/>
    <dgm:cxn modelId="{C72F03FC-F97D-42B9-A3AF-023B8BBFDBE3}" srcId="{C4DE6B70-F1BB-46F1-A521-A5706A07D6E2}" destId="{690DA512-0CBB-46C9-9676-F73A739FD657}" srcOrd="0" destOrd="0" parTransId="{FA881D9B-0EF7-45F6-8D07-0DD695BFB235}" sibTransId="{E21979C8-E930-4CBA-8F6E-093016F6257D}"/>
    <dgm:cxn modelId="{5E90CDFA-B31D-436F-B156-A27C6C8E4E8F}" type="presOf" srcId="{407B02F3-E226-410A-A2A3-AAFDEAC7A37E}" destId="{C19C9130-3F13-49F8-9155-C4AD6BC4FF46}" srcOrd="1" destOrd="0" presId="urn:microsoft.com/office/officeart/2005/8/layout/orgChart1"/>
    <dgm:cxn modelId="{14ADC4D9-444B-4221-8E5C-390DD14DE559}" type="presOf" srcId="{690DA512-0CBB-46C9-9676-F73A739FD657}" destId="{1B30CA92-4F25-43CB-9D55-3D62C28F63F0}" srcOrd="0" destOrd="0" presId="urn:microsoft.com/office/officeart/2005/8/layout/orgChart1"/>
    <dgm:cxn modelId="{957C5E56-FBB5-4ACD-A5DB-ECCA789652F6}" srcId="{690DA512-0CBB-46C9-9676-F73A739FD657}" destId="{3F6A70BB-7ADE-4825-9CBD-B1F130562ED7}" srcOrd="0" destOrd="0" parTransId="{7EC44329-3BE8-4F82-B65F-8DD29EEC9990}" sibTransId="{862544A4-0AF2-435C-B95C-2B521DC834A5}"/>
    <dgm:cxn modelId="{EB3F4010-29B7-4563-8B38-9FCD646BC210}" type="presOf" srcId="{690DA512-0CBB-46C9-9676-F73A739FD657}" destId="{06B7F4D6-3F55-47F3-A073-CE2B03EDC921}" srcOrd="1" destOrd="0" presId="urn:microsoft.com/office/officeart/2005/8/layout/orgChart1"/>
    <dgm:cxn modelId="{5CCB1C5A-8DD9-4A90-86CB-269AB8816640}" type="presOf" srcId="{671E5B2C-D2E0-4336-9646-CEB3E5AC2661}" destId="{905C404E-E034-469A-AAAA-B38EAB838D03}" srcOrd="0" destOrd="0" presId="urn:microsoft.com/office/officeart/2005/8/layout/orgChart1"/>
    <dgm:cxn modelId="{5CB0871F-0935-4B05-A197-D30639D6A5CE}" type="presOf" srcId="{3F6A70BB-7ADE-4825-9CBD-B1F130562ED7}" destId="{AB63546D-F8C2-4B40-B5AE-5A7DAC8785F6}" srcOrd="0" destOrd="0" presId="urn:microsoft.com/office/officeart/2005/8/layout/orgChart1"/>
    <dgm:cxn modelId="{D0A4C234-60F1-477E-98A9-F74DD120D32F}" type="presOf" srcId="{C4DE6B70-F1BB-46F1-A521-A5706A07D6E2}" destId="{58FC0298-D3E7-4997-8171-8AA32154ED02}" srcOrd="0" destOrd="0" presId="urn:microsoft.com/office/officeart/2005/8/layout/orgChart1"/>
    <dgm:cxn modelId="{666928A9-7DB3-4836-B9C8-E98B84782CD2}" type="presOf" srcId="{7EC44329-3BE8-4F82-B65F-8DD29EEC9990}" destId="{6495B164-D75D-4BE5-A3A9-1E1C87BFAA80}" srcOrd="0" destOrd="0" presId="urn:microsoft.com/office/officeart/2005/8/layout/orgChart1"/>
    <dgm:cxn modelId="{0AFEEDDD-A2F6-4C0C-8C0E-11CA36811C36}" type="presOf" srcId="{407B02F3-E226-410A-A2A3-AAFDEAC7A37E}" destId="{0BEE86AA-20D3-40EB-B894-EED039D5ECD8}" srcOrd="0" destOrd="0" presId="urn:microsoft.com/office/officeart/2005/8/layout/orgChart1"/>
    <dgm:cxn modelId="{B0094F16-427F-446D-ADD7-EF24D4681A70}" srcId="{690DA512-0CBB-46C9-9676-F73A739FD657}" destId="{407B02F3-E226-410A-A2A3-AAFDEAC7A37E}" srcOrd="1" destOrd="0" parTransId="{671E5B2C-D2E0-4336-9646-CEB3E5AC2661}" sibTransId="{96F3D990-CFDC-44E7-8888-146B8676E8CF}"/>
    <dgm:cxn modelId="{7AC6ED3B-C6C1-412F-915D-D3004D430E7A}" type="presParOf" srcId="{58FC0298-D3E7-4997-8171-8AA32154ED02}" destId="{41785CA3-BD75-4437-BC26-3775D1535459}" srcOrd="0" destOrd="0" presId="urn:microsoft.com/office/officeart/2005/8/layout/orgChart1"/>
    <dgm:cxn modelId="{AF5B9FD6-84F4-4104-9C31-55EF35D0E080}" type="presParOf" srcId="{41785CA3-BD75-4437-BC26-3775D1535459}" destId="{CD95B545-5EE0-4E05-B39C-5B4333F7DA11}" srcOrd="0" destOrd="0" presId="urn:microsoft.com/office/officeart/2005/8/layout/orgChart1"/>
    <dgm:cxn modelId="{6F176BA3-5520-4D90-A61F-115D038CD15F}" type="presParOf" srcId="{CD95B545-5EE0-4E05-B39C-5B4333F7DA11}" destId="{1B30CA92-4F25-43CB-9D55-3D62C28F63F0}" srcOrd="0" destOrd="0" presId="urn:microsoft.com/office/officeart/2005/8/layout/orgChart1"/>
    <dgm:cxn modelId="{62D34B1D-AF21-41F1-B75B-40A1F3F39506}" type="presParOf" srcId="{CD95B545-5EE0-4E05-B39C-5B4333F7DA11}" destId="{06B7F4D6-3F55-47F3-A073-CE2B03EDC921}" srcOrd="1" destOrd="0" presId="urn:microsoft.com/office/officeart/2005/8/layout/orgChart1"/>
    <dgm:cxn modelId="{018C989E-078E-4F07-9B8A-C5676C4C1362}" type="presParOf" srcId="{41785CA3-BD75-4437-BC26-3775D1535459}" destId="{0E90EAD8-1CFB-438B-B4E5-CE4E34BE99B8}" srcOrd="1" destOrd="0" presId="urn:microsoft.com/office/officeart/2005/8/layout/orgChart1"/>
    <dgm:cxn modelId="{68A8C869-94CB-41B2-A9DA-2281DBB9CA6E}" type="presParOf" srcId="{0E90EAD8-1CFB-438B-B4E5-CE4E34BE99B8}" destId="{6495B164-D75D-4BE5-A3A9-1E1C87BFAA80}" srcOrd="0" destOrd="0" presId="urn:microsoft.com/office/officeart/2005/8/layout/orgChart1"/>
    <dgm:cxn modelId="{2A3EA4FA-8B2A-43CE-A770-CC49BC925264}" type="presParOf" srcId="{0E90EAD8-1CFB-438B-B4E5-CE4E34BE99B8}" destId="{C343F590-2E29-4015-B55B-A6EFAA3B8179}" srcOrd="1" destOrd="0" presId="urn:microsoft.com/office/officeart/2005/8/layout/orgChart1"/>
    <dgm:cxn modelId="{993F8859-D727-4BAF-92CA-B2497C1A3BC3}" type="presParOf" srcId="{C343F590-2E29-4015-B55B-A6EFAA3B8179}" destId="{A5F08A00-F3AD-4E35-BCF5-D8DD12E10CE2}" srcOrd="0" destOrd="0" presId="urn:microsoft.com/office/officeart/2005/8/layout/orgChart1"/>
    <dgm:cxn modelId="{A4E828AF-40C8-46A0-8778-3E54FAAE1229}" type="presParOf" srcId="{A5F08A00-F3AD-4E35-BCF5-D8DD12E10CE2}" destId="{AB63546D-F8C2-4B40-B5AE-5A7DAC8785F6}" srcOrd="0" destOrd="0" presId="urn:microsoft.com/office/officeart/2005/8/layout/orgChart1"/>
    <dgm:cxn modelId="{0531BF3A-D61F-463E-B4D8-67DEDEC70582}" type="presParOf" srcId="{A5F08A00-F3AD-4E35-BCF5-D8DD12E10CE2}" destId="{9E54EDE9-736D-4008-A549-6142D3526F32}" srcOrd="1" destOrd="0" presId="urn:microsoft.com/office/officeart/2005/8/layout/orgChart1"/>
    <dgm:cxn modelId="{E5C1F144-1311-478D-9046-7B762D9DAEC2}" type="presParOf" srcId="{C343F590-2E29-4015-B55B-A6EFAA3B8179}" destId="{9D4C6E51-DDE0-493A-9D5F-B890AFCA6F83}" srcOrd="1" destOrd="0" presId="urn:microsoft.com/office/officeart/2005/8/layout/orgChart1"/>
    <dgm:cxn modelId="{73FAABD5-50E1-4B9E-9443-5D07AEF8EC8F}" type="presParOf" srcId="{C343F590-2E29-4015-B55B-A6EFAA3B8179}" destId="{2F3D10FE-9BC8-420D-A0CF-AE03F1B5118C}" srcOrd="2" destOrd="0" presId="urn:microsoft.com/office/officeart/2005/8/layout/orgChart1"/>
    <dgm:cxn modelId="{357827E0-CBF8-41BA-BEDD-AE707CF638F9}" type="presParOf" srcId="{0E90EAD8-1CFB-438B-B4E5-CE4E34BE99B8}" destId="{905C404E-E034-469A-AAAA-B38EAB838D03}" srcOrd="2" destOrd="0" presId="urn:microsoft.com/office/officeart/2005/8/layout/orgChart1"/>
    <dgm:cxn modelId="{A92DA7D5-2934-4C2E-84AF-127812554184}" type="presParOf" srcId="{0E90EAD8-1CFB-438B-B4E5-CE4E34BE99B8}" destId="{54273B0B-1A32-458A-83E0-888DD54E847C}" srcOrd="3" destOrd="0" presId="urn:microsoft.com/office/officeart/2005/8/layout/orgChart1"/>
    <dgm:cxn modelId="{31587F4B-9DF8-4683-B96D-DCC0B46DD440}" type="presParOf" srcId="{54273B0B-1A32-458A-83E0-888DD54E847C}" destId="{6042366F-2832-49BC-B371-49CDF5E474AF}" srcOrd="0" destOrd="0" presId="urn:microsoft.com/office/officeart/2005/8/layout/orgChart1"/>
    <dgm:cxn modelId="{DE9F609E-667D-4C03-B947-2FD9916877E9}" type="presParOf" srcId="{6042366F-2832-49BC-B371-49CDF5E474AF}" destId="{0BEE86AA-20D3-40EB-B894-EED039D5ECD8}" srcOrd="0" destOrd="0" presId="urn:microsoft.com/office/officeart/2005/8/layout/orgChart1"/>
    <dgm:cxn modelId="{572BFB41-96E3-4E71-8B7B-983E3D5BA656}" type="presParOf" srcId="{6042366F-2832-49BC-B371-49CDF5E474AF}" destId="{C19C9130-3F13-49F8-9155-C4AD6BC4FF46}" srcOrd="1" destOrd="0" presId="urn:microsoft.com/office/officeart/2005/8/layout/orgChart1"/>
    <dgm:cxn modelId="{18240F8F-18FF-4631-9E96-D6C5A1A5ABD0}" type="presParOf" srcId="{54273B0B-1A32-458A-83E0-888DD54E847C}" destId="{DBCC4B02-5D0A-49D2-85FC-279256BB880F}" srcOrd="1" destOrd="0" presId="urn:microsoft.com/office/officeart/2005/8/layout/orgChart1"/>
    <dgm:cxn modelId="{1B6B0C4F-6649-4425-847B-A4AEC1E01395}" type="presParOf" srcId="{54273B0B-1A32-458A-83E0-888DD54E847C}" destId="{E0BF3615-6694-4A0B-B022-AC39DE7560C3}" srcOrd="2" destOrd="0" presId="urn:microsoft.com/office/officeart/2005/8/layout/orgChart1"/>
    <dgm:cxn modelId="{2F9FB124-59D9-42C5-BCDA-2439386394E5}" type="presParOf" srcId="{41785CA3-BD75-4437-BC26-3775D1535459}" destId="{55F9013C-5B42-450D-8BF1-56EE70A7B7C9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36DFF4EE-0D44-4D0E-B16F-AAB445B56152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EF2FDE5C-1760-40FC-B6F2-CE09D3741413}">
      <dgm:prSet phldrT="[Текст]" custT="1"/>
      <dgm:spPr>
        <a:xfrm>
          <a:off x="1056906" y="1658"/>
          <a:ext cx="3461285" cy="454428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105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Arial" pitchFamily="34" charset="0"/>
            </a:rPr>
            <a:t>Варианты внедрения               образовательного модуля                                                  </a:t>
          </a:r>
          <a:r>
            <a:rPr lang="ru-RU" sz="105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Arial" pitchFamily="34" charset="0"/>
            </a:rPr>
            <a:t>"Основы </a:t>
          </a:r>
          <a:r>
            <a:rPr lang="ru-RU" sz="1050" b="1" dirty="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Arial" pitchFamily="34" charset="0"/>
            </a:rPr>
            <a:t>самозанятости</a:t>
          </a:r>
          <a:r>
            <a:rPr lang="ru-RU" sz="105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Arial" pitchFamily="34" charset="0"/>
            </a:rPr>
            <a:t> </a:t>
          </a:r>
          <a:r>
            <a:rPr lang="ru-RU" sz="105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Arial" pitchFamily="34" charset="0"/>
            </a:rPr>
            <a:t>"</a:t>
          </a:r>
          <a:endParaRPr lang="ru-RU" sz="105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Arial" pitchFamily="34" charset="0"/>
          </a:endParaRPr>
        </a:p>
      </dgm:t>
    </dgm:pt>
    <dgm:pt modelId="{5417697D-5A56-4E21-9AE9-40B8048F99BD}" type="parTrans" cxnId="{A71ACA94-C69A-461E-870C-C9FF97066C14}">
      <dgm:prSet/>
      <dgm:spPr/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E5482495-74C9-4131-8C79-F34938ED8B2E}" type="sibTrans" cxnId="{A71ACA94-C69A-461E-870C-C9FF97066C14}">
      <dgm:prSet/>
      <dgm:spPr/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62845E5A-CFDA-43A4-A175-3FE7E18AAB9D}">
      <dgm:prSet phldrT="[Текст]" custT="1"/>
      <dgm:spPr>
        <a:xfrm>
          <a:off x="238992" y="950373"/>
          <a:ext cx="2305279" cy="974153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9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В общеобразовательных учреждениях</a:t>
          </a:r>
        </a:p>
      </dgm:t>
    </dgm:pt>
    <dgm:pt modelId="{8774D463-001D-496D-A902-0C64F4645E58}" type="parTrans" cxnId="{25230F0E-AA40-43D1-BAE9-074CD87272DF}">
      <dgm:prSet/>
      <dgm:spPr>
        <a:xfrm>
          <a:off x="1391632" y="456086"/>
          <a:ext cx="1395916" cy="494286"/>
        </a:xfr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AC488FA3-D88B-4E10-89A5-D5E327A01F99}" type="sibTrans" cxnId="{25230F0E-AA40-43D1-BAE9-074CD87272DF}">
      <dgm:prSet/>
      <dgm:spPr/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3E2B8300-4FE2-4138-8222-2B679D942955}">
      <dgm:prSet phldrT="[Текст]" custT="1"/>
      <dgm:spPr>
        <a:xfrm>
          <a:off x="3029603" y="940195"/>
          <a:ext cx="2305279" cy="974165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9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В учреждениях </a:t>
          </a:r>
          <a:endParaRPr lang="ru-RU" sz="900" b="0" dirty="0" smtClean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itchFamily="34" charset="0"/>
            <a:ea typeface="+mn-ea"/>
            <a:cs typeface="Arial" pitchFamily="34" charset="0"/>
          </a:endParaRPr>
        </a:p>
        <a:p>
          <a:r>
            <a:rPr lang="ru-RU" sz="9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дополнительного </a:t>
          </a:r>
          <a:r>
            <a:rPr lang="ru-RU" sz="900" b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бразования </a:t>
          </a:r>
        </a:p>
      </dgm:t>
    </dgm:pt>
    <dgm:pt modelId="{5E1B1ABA-70C1-448F-AE1E-4F77D8F09A30}" type="parTrans" cxnId="{21A594FC-E880-4662-81B0-4A887E2E00E6}">
      <dgm:prSet/>
      <dgm:spPr>
        <a:xfrm>
          <a:off x="2787549" y="456086"/>
          <a:ext cx="1394694" cy="484108"/>
        </a:xfr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9A9B4DCF-CA33-4388-8287-11AF45DE5CD7}" type="sibTrans" cxnId="{21A594FC-E880-4662-81B0-4A887E2E00E6}">
      <dgm:prSet/>
      <dgm:spPr/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C2020FB7-CAE3-4BDB-BD39-15D674DC310F}">
      <dgm:prSet custT="1"/>
      <dgm:spPr>
        <a:xfrm>
          <a:off x="816534" y="2398458"/>
          <a:ext cx="2305279" cy="1152639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9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знакомительный уровень </a:t>
          </a:r>
          <a:r>
            <a:rPr lang="ru-RU" sz="90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</a:t>
          </a:r>
          <a:r>
            <a:rPr lang="ru-RU" sz="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в </a:t>
          </a:r>
          <a:r>
            <a:rPr lang="ru-RU" sz="9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сновной </a:t>
          </a:r>
          <a:r>
            <a:rPr lang="ru-RU" sz="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                школе в </a:t>
          </a:r>
          <a:r>
            <a:rPr lang="ru-RU" sz="9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рамках</a:t>
          </a:r>
        </a:p>
        <a:p>
          <a:r>
            <a:rPr lang="ru-RU" sz="9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1) предмета "</a:t>
          </a:r>
          <a:r>
            <a:rPr lang="ru-RU" sz="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Технология</a:t>
          </a:r>
          <a:r>
            <a:rPr lang="ru-RU" sz="9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" </a:t>
          </a:r>
        </a:p>
        <a:p>
          <a:r>
            <a:rPr lang="ru-RU" sz="9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2) Кружковой работы в </a:t>
          </a:r>
          <a:r>
            <a:rPr lang="ru-RU" sz="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    целях </a:t>
          </a:r>
          <a:r>
            <a:rPr lang="ru-RU" sz="9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сознанного </a:t>
          </a:r>
          <a:r>
            <a:rPr lang="ru-RU" sz="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                   выбора </a:t>
          </a:r>
          <a:r>
            <a:rPr lang="ru-RU" sz="9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офиля  </a:t>
          </a:r>
        </a:p>
      </dgm:t>
    </dgm:pt>
    <dgm:pt modelId="{F5279F98-5EA9-4284-96B4-A3FA73BA6483}" type="parTrans" cxnId="{55CC0CD6-C34C-4FFE-838B-9C6B9491245D}">
      <dgm:prSet/>
      <dgm:spPr>
        <a:xfrm>
          <a:off x="469520" y="1924527"/>
          <a:ext cx="347013" cy="1050250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3453420A-6374-45CA-9F14-F0C8581EA488}" type="sibTrans" cxnId="{55CC0CD6-C34C-4FFE-838B-9C6B9491245D}">
      <dgm:prSet/>
      <dgm:spPr/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AF7527FA-6F46-4E8C-BEE8-6513FB88E6A0}">
      <dgm:prSet custT="1"/>
      <dgm:spPr>
        <a:xfrm>
          <a:off x="3605923" y="2398469"/>
          <a:ext cx="2305279" cy="1152639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800" b="1" i="0" dirty="0">
              <a:latin typeface="Arial" pitchFamily="34" charset="0"/>
              <a:cs typeface="Arial" pitchFamily="34" charset="0"/>
            </a:rPr>
            <a:t>Общеразвивающая  программа </a:t>
          </a:r>
          <a:r>
            <a:rPr lang="ru-RU" sz="800" b="0" i="0" dirty="0" smtClean="0">
              <a:latin typeface="Arial" pitchFamily="34" charset="0"/>
              <a:cs typeface="Arial" pitchFamily="34" charset="0"/>
            </a:rPr>
            <a:t>в </a:t>
          </a:r>
          <a:r>
            <a:rPr lang="ru-RU" sz="800" b="0" i="0" dirty="0">
              <a:latin typeface="Arial" pitchFamily="34" charset="0"/>
              <a:cs typeface="Arial" pitchFamily="34" charset="0"/>
            </a:rPr>
            <a:t>том </a:t>
          </a:r>
          <a:r>
            <a:rPr lang="ru-RU" sz="800" b="0" i="0" dirty="0" smtClean="0">
              <a:latin typeface="Arial" pitchFamily="34" charset="0"/>
              <a:cs typeface="Arial" pitchFamily="34" charset="0"/>
            </a:rPr>
            <a:t>числе</a:t>
          </a:r>
        </a:p>
        <a:p>
          <a:r>
            <a:rPr lang="ru-RU" sz="800" i="0" dirty="0" smtClean="0">
              <a:latin typeface="Arial" pitchFamily="34" charset="0"/>
              <a:cs typeface="Arial" pitchFamily="34" charset="0"/>
            </a:rPr>
            <a:t>1</a:t>
          </a:r>
          <a:r>
            <a:rPr lang="ru-RU" sz="800" i="0" dirty="0">
              <a:latin typeface="Arial" pitchFamily="34" charset="0"/>
              <a:cs typeface="Arial" pitchFamily="34" charset="0"/>
            </a:rPr>
            <a:t>) Ознакомительный </a:t>
          </a:r>
          <a:r>
            <a:rPr lang="ru-RU" sz="800" i="0" dirty="0" smtClean="0">
              <a:latin typeface="Arial" pitchFamily="34" charset="0"/>
              <a:cs typeface="Arial" pitchFamily="34" charset="0"/>
            </a:rPr>
            <a:t>уровень для </a:t>
          </a:r>
          <a:r>
            <a:rPr lang="ru-RU" sz="800" i="0" dirty="0">
              <a:latin typeface="Arial" pitchFamily="34" charset="0"/>
              <a:cs typeface="Arial" pitchFamily="34" charset="0"/>
            </a:rPr>
            <a:t>всех желающих </a:t>
          </a:r>
        </a:p>
        <a:p>
          <a:r>
            <a:rPr lang="ru-RU" sz="800" i="0" dirty="0">
              <a:latin typeface="Arial" pitchFamily="34" charset="0"/>
              <a:cs typeface="Arial" pitchFamily="34" charset="0"/>
            </a:rPr>
            <a:t>2) Учебный  уровень  </a:t>
          </a:r>
          <a:r>
            <a:rPr lang="ru-RU" sz="800" i="0" dirty="0" smtClean="0">
              <a:latin typeface="Arial" pitchFamily="34" charset="0"/>
              <a:cs typeface="Arial" pitchFamily="34" charset="0"/>
            </a:rPr>
            <a:t>-                      </a:t>
          </a:r>
          <a:r>
            <a:rPr lang="ru-RU" sz="800" i="0" dirty="0">
              <a:latin typeface="Arial" pitchFamily="34" charset="0"/>
              <a:cs typeface="Arial" pitchFamily="34" charset="0"/>
            </a:rPr>
            <a:t>для тех, кто освоил ознакомительный уровень  </a:t>
          </a:r>
          <a:endParaRPr lang="ru-RU" sz="800" i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itchFamily="34" charset="0"/>
            <a:ea typeface="+mn-ea"/>
            <a:cs typeface="Arial" pitchFamily="34" charset="0"/>
          </a:endParaRPr>
        </a:p>
      </dgm:t>
    </dgm:pt>
    <dgm:pt modelId="{88B18C11-572D-4650-8D09-BBE207C97B0C}" type="parTrans" cxnId="{89E6ABB7-6D97-4E9A-9352-56765DF3A843}">
      <dgm:prSet/>
      <dgm:spPr>
        <a:xfrm>
          <a:off x="3260131" y="1914360"/>
          <a:ext cx="345791" cy="1060428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1DB4260C-2609-4E7E-956D-8248F3116709}" type="sibTrans" cxnId="{89E6ABB7-6D97-4E9A-9352-56765DF3A843}">
      <dgm:prSet/>
      <dgm:spPr/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C25FC57A-7074-4A79-8E73-860D817C4812}">
      <dgm:prSet custT="1"/>
      <dgm:spPr>
        <a:xfrm>
          <a:off x="3605923" y="4035218"/>
          <a:ext cx="2305279" cy="1152639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800" i="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</a:t>
          </a:r>
          <a:r>
            <a:rPr lang="ru-RU" sz="800" b="1" i="0" dirty="0">
              <a:latin typeface="Arial" pitchFamily="34" charset="0"/>
              <a:cs typeface="Arial" pitchFamily="34" charset="0"/>
            </a:rPr>
            <a:t>Предпрофессиональная программа                                               </a:t>
          </a:r>
          <a:r>
            <a:rPr lang="ru-RU" sz="800" b="0" i="0" dirty="0">
              <a:latin typeface="Arial" pitchFamily="34" charset="0"/>
              <a:cs typeface="Arial" pitchFamily="34" charset="0"/>
            </a:rPr>
            <a:t>в том числе </a:t>
          </a:r>
          <a:r>
            <a:rPr lang="ru-RU" sz="800" i="0" dirty="0">
              <a:latin typeface="Arial" pitchFamily="34" charset="0"/>
              <a:cs typeface="Arial" pitchFamily="34" charset="0"/>
            </a:rPr>
            <a:t>поддержка детей, проявивших выдающиеся способности</a:t>
          </a:r>
          <a:r>
            <a:rPr lang="ru-RU" sz="800" b="1" i="0" dirty="0">
              <a:latin typeface="Arial" pitchFamily="34" charset="0"/>
              <a:cs typeface="Arial" pitchFamily="34" charset="0"/>
            </a:rPr>
            <a:t> </a:t>
          </a:r>
        </a:p>
        <a:p>
          <a:r>
            <a:rPr lang="ru-RU" sz="800" b="0" i="0" dirty="0">
              <a:latin typeface="Arial" pitchFamily="34" charset="0"/>
              <a:cs typeface="Arial" pitchFamily="34" charset="0"/>
            </a:rPr>
            <a:t> - для тех, кто освоил общеразвивающую </a:t>
          </a:r>
          <a:r>
            <a:rPr lang="ru-RU" sz="800" b="0" i="0" dirty="0" smtClean="0">
              <a:latin typeface="Arial" pitchFamily="34" charset="0"/>
              <a:cs typeface="Arial" pitchFamily="34" charset="0"/>
            </a:rPr>
            <a:t>программу </a:t>
          </a:r>
          <a:endParaRPr lang="ru-RU" sz="800" b="1" i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itchFamily="34" charset="0"/>
            <a:ea typeface="+mn-ea"/>
            <a:cs typeface="Arial" pitchFamily="34" charset="0"/>
          </a:endParaRPr>
        </a:p>
      </dgm:t>
    </dgm:pt>
    <dgm:pt modelId="{FB557F7F-E744-4403-AC70-E2E4FA074DA6}" type="parTrans" cxnId="{46F5C6F9-5FD0-4EAA-8200-8C3A004BDC76}">
      <dgm:prSet/>
      <dgm:spPr>
        <a:xfrm>
          <a:off x="3260131" y="1914360"/>
          <a:ext cx="345791" cy="2697177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34F5EED9-6228-436F-A351-E8A4F19F30D0}" type="sibTrans" cxnId="{46F5C6F9-5FD0-4EAA-8200-8C3A004BDC76}">
      <dgm:prSet/>
      <dgm:spPr/>
      <dgm:t>
        <a:bodyPr/>
        <a:lstStyle/>
        <a:p>
          <a:endParaRPr lang="ru-RU" sz="1400">
            <a:latin typeface="Arial" pitchFamily="34" charset="0"/>
            <a:cs typeface="Arial" pitchFamily="34" charset="0"/>
          </a:endParaRPr>
        </a:p>
      </dgm:t>
    </dgm:pt>
    <dgm:pt modelId="{A5271818-8FFC-4889-8751-DFC7CC93551F}">
      <dgm:prSet custT="1"/>
      <dgm:spPr/>
      <dgm:t>
        <a:bodyPr/>
        <a:lstStyle/>
        <a:p>
          <a:r>
            <a:rPr lang="ru-RU" sz="80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сновной уровень                                           </a:t>
          </a:r>
          <a:r>
            <a:rPr lang="ru-RU" sz="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в средней школе                                в профильных экономических классах </a:t>
          </a:r>
          <a:r>
            <a:rPr lang="ru-RU" sz="8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"Основы </a:t>
          </a:r>
          <a:r>
            <a:rPr lang="ru-RU" sz="800" dirty="0" err="1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самозанятости</a:t>
          </a:r>
          <a:r>
            <a:rPr lang="ru-RU" sz="8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и   предпринимательства" </a:t>
          </a:r>
          <a:endParaRPr lang="ru-RU" sz="800" dirty="0"/>
        </a:p>
      </dgm:t>
    </dgm:pt>
    <dgm:pt modelId="{A1FE282C-D522-4FA3-AA60-7C4742438FAF}" type="parTrans" cxnId="{0FD444D0-AE75-48E3-9A98-081561BBD9FC}">
      <dgm:prSet/>
      <dgm:spPr/>
      <dgm:t>
        <a:bodyPr/>
        <a:lstStyle/>
        <a:p>
          <a:endParaRPr lang="ru-RU"/>
        </a:p>
      </dgm:t>
    </dgm:pt>
    <dgm:pt modelId="{5DF001B4-5556-4C35-B0C8-0456C03C4811}" type="sibTrans" cxnId="{0FD444D0-AE75-48E3-9A98-081561BBD9FC}">
      <dgm:prSet/>
      <dgm:spPr/>
      <dgm:t>
        <a:bodyPr/>
        <a:lstStyle/>
        <a:p>
          <a:endParaRPr lang="ru-RU"/>
        </a:p>
      </dgm:t>
    </dgm:pt>
    <dgm:pt modelId="{C6F3F639-0514-4C20-8304-FCC87B697CAA}">
      <dgm:prSet custT="1"/>
      <dgm:spPr/>
      <dgm:t>
        <a:bodyPr/>
        <a:lstStyle/>
        <a:p>
          <a:r>
            <a:rPr lang="ru-RU" sz="900" dirty="0" smtClean="0">
              <a:latin typeface="Arial" pitchFamily="34" charset="0"/>
              <a:cs typeface="Arial" pitchFamily="34" charset="0"/>
            </a:rPr>
            <a:t>В рамках нового предмета </a:t>
          </a:r>
          <a:r>
            <a:rPr lang="ru-RU" sz="900" b="1" dirty="0" smtClean="0">
              <a:latin typeface="Arial" pitchFamily="34" charset="0"/>
              <a:cs typeface="Arial" pitchFamily="34" charset="0"/>
            </a:rPr>
            <a:t>«Индивидуальный                     проект»</a:t>
          </a:r>
          <a:endParaRPr lang="ru-RU" sz="900" b="1" dirty="0">
            <a:latin typeface="Arial" pitchFamily="34" charset="0"/>
            <a:cs typeface="Arial" pitchFamily="34" charset="0"/>
          </a:endParaRPr>
        </a:p>
      </dgm:t>
    </dgm:pt>
    <dgm:pt modelId="{64E48B04-A0A4-4D19-B813-854B873305D5}" type="parTrans" cxnId="{A1E70A2B-C311-4502-8508-541811224AA7}">
      <dgm:prSet/>
      <dgm:spPr/>
      <dgm:t>
        <a:bodyPr/>
        <a:lstStyle/>
        <a:p>
          <a:endParaRPr lang="ru-RU"/>
        </a:p>
      </dgm:t>
    </dgm:pt>
    <dgm:pt modelId="{4625F481-19DC-4DAC-8910-7644F0A2EDC7}" type="sibTrans" cxnId="{A1E70A2B-C311-4502-8508-541811224AA7}">
      <dgm:prSet/>
      <dgm:spPr/>
      <dgm:t>
        <a:bodyPr/>
        <a:lstStyle/>
        <a:p>
          <a:endParaRPr lang="ru-RU"/>
        </a:p>
      </dgm:t>
    </dgm:pt>
    <dgm:pt modelId="{017A8E84-E7CE-4EBD-93C9-1AC59B29CAFC}" type="pres">
      <dgm:prSet presAssocID="{36DFF4EE-0D44-4D0E-B16F-AAB445B5615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5EBC3769-E0D2-4A02-B4A4-21CCFEAE7CFE}" type="pres">
      <dgm:prSet presAssocID="{EF2FDE5C-1760-40FC-B6F2-CE09D3741413}" presName="hierRoot1" presStyleCnt="0">
        <dgm:presLayoutVars>
          <dgm:hierBranch val="init"/>
        </dgm:presLayoutVars>
      </dgm:prSet>
      <dgm:spPr/>
    </dgm:pt>
    <dgm:pt modelId="{930CF38E-3021-4E37-9C64-0E842B12D937}" type="pres">
      <dgm:prSet presAssocID="{EF2FDE5C-1760-40FC-B6F2-CE09D3741413}" presName="rootComposite1" presStyleCnt="0"/>
      <dgm:spPr/>
    </dgm:pt>
    <dgm:pt modelId="{E8DFF083-664F-419B-B5F1-9FFBE275C46E}" type="pres">
      <dgm:prSet presAssocID="{EF2FDE5C-1760-40FC-B6F2-CE09D3741413}" presName="rootText1" presStyleLbl="node0" presStyleIdx="0" presStyleCnt="1" custScaleX="169752" custScaleY="105599" custLinFactNeighborX="32675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A17D171F-81BC-4C23-8156-C56C635B07DC}" type="pres">
      <dgm:prSet presAssocID="{EF2FDE5C-1760-40FC-B6F2-CE09D3741413}" presName="rootConnector1" presStyleLbl="node1" presStyleIdx="0" presStyleCnt="0"/>
      <dgm:spPr/>
      <dgm:t>
        <a:bodyPr/>
        <a:lstStyle/>
        <a:p>
          <a:endParaRPr lang="ru-RU"/>
        </a:p>
      </dgm:t>
    </dgm:pt>
    <dgm:pt modelId="{7ADCFA3F-6001-46B8-A8BC-C7BC2491D2DF}" type="pres">
      <dgm:prSet presAssocID="{EF2FDE5C-1760-40FC-B6F2-CE09D3741413}" presName="hierChild2" presStyleCnt="0"/>
      <dgm:spPr/>
    </dgm:pt>
    <dgm:pt modelId="{EF091779-A3F4-499D-8E3A-95CD769CAC92}" type="pres">
      <dgm:prSet presAssocID="{8774D463-001D-496D-A902-0C64F4645E58}" presName="Name37" presStyleLbl="parChTrans1D2" presStyleIdx="0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1395916" y="0"/>
              </a:moveTo>
              <a:lnTo>
                <a:pt x="1395916" y="252232"/>
              </a:lnTo>
              <a:lnTo>
                <a:pt x="0" y="252232"/>
              </a:lnTo>
              <a:lnTo>
                <a:pt x="0" y="494286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25A421B4-CA9E-4B23-95B1-FA1D9C73A4AD}" type="pres">
      <dgm:prSet presAssocID="{62845E5A-CFDA-43A4-A175-3FE7E18AAB9D}" presName="hierRoot2" presStyleCnt="0">
        <dgm:presLayoutVars>
          <dgm:hierBranch val="r"/>
        </dgm:presLayoutVars>
      </dgm:prSet>
      <dgm:spPr/>
    </dgm:pt>
    <dgm:pt modelId="{4F8246A6-BB4A-425A-9571-AB2488BEAF53}" type="pres">
      <dgm:prSet presAssocID="{62845E5A-CFDA-43A4-A175-3FE7E18AAB9D}" presName="rootComposite" presStyleCnt="0"/>
      <dgm:spPr/>
    </dgm:pt>
    <dgm:pt modelId="{F1DE3BBD-0312-4359-9B0C-3023DDBA6AFA}" type="pres">
      <dgm:prSet presAssocID="{62845E5A-CFDA-43A4-A175-3FE7E18AAB9D}" presName="rootText" presStyleLbl="node2" presStyleIdx="0" presStyleCnt="2" custScaleX="134755" custScaleY="84169" custLinFactNeighborX="-53" custLinFactNeighborY="17051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34076914-351E-490E-9F03-D78FFD681661}" type="pres">
      <dgm:prSet presAssocID="{62845E5A-CFDA-43A4-A175-3FE7E18AAB9D}" presName="rootConnector" presStyleLbl="node2" presStyleIdx="0" presStyleCnt="2"/>
      <dgm:spPr/>
      <dgm:t>
        <a:bodyPr/>
        <a:lstStyle/>
        <a:p>
          <a:endParaRPr lang="ru-RU"/>
        </a:p>
      </dgm:t>
    </dgm:pt>
    <dgm:pt modelId="{DC68DE07-F38D-49A6-B293-96BA2004C88B}" type="pres">
      <dgm:prSet presAssocID="{62845E5A-CFDA-43A4-A175-3FE7E18AAB9D}" presName="hierChild4" presStyleCnt="0"/>
      <dgm:spPr/>
    </dgm:pt>
    <dgm:pt modelId="{ABA7776E-8B85-4795-8F6E-F051B86EA04C}" type="pres">
      <dgm:prSet presAssocID="{F5279F98-5EA9-4284-96B4-A3FA73BA6483}" presName="Name50" presStyleLbl="parChTrans1D3" presStyleIdx="0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50250"/>
              </a:lnTo>
              <a:lnTo>
                <a:pt x="347013" y="1050250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EDD2C53D-31ED-4786-983D-BB58A6204EE9}" type="pres">
      <dgm:prSet presAssocID="{C2020FB7-CAE3-4BDB-BD39-15D674DC310F}" presName="hierRoot2" presStyleCnt="0">
        <dgm:presLayoutVars>
          <dgm:hierBranch val="init"/>
        </dgm:presLayoutVars>
      </dgm:prSet>
      <dgm:spPr/>
    </dgm:pt>
    <dgm:pt modelId="{D28E683F-BDB8-4C11-96D9-2D49EE194CBA}" type="pres">
      <dgm:prSet presAssocID="{C2020FB7-CAE3-4BDB-BD39-15D674DC310F}" presName="rootComposite" presStyleCnt="0"/>
      <dgm:spPr/>
    </dgm:pt>
    <dgm:pt modelId="{2F2B9F78-DF71-4B6E-A9C5-B66ED2D87466}" type="pres">
      <dgm:prSet presAssocID="{C2020FB7-CAE3-4BDB-BD39-15D674DC310F}" presName="rootText" presStyleLbl="node3" presStyleIdx="0" presStyleCnt="5" custScaleX="119578" custScaleY="16648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AF789D60-8F70-434B-A8DF-2DE618E6A793}" type="pres">
      <dgm:prSet presAssocID="{C2020FB7-CAE3-4BDB-BD39-15D674DC310F}" presName="rootConnector" presStyleLbl="node3" presStyleIdx="0" presStyleCnt="5"/>
      <dgm:spPr/>
      <dgm:t>
        <a:bodyPr/>
        <a:lstStyle/>
        <a:p>
          <a:endParaRPr lang="ru-RU"/>
        </a:p>
      </dgm:t>
    </dgm:pt>
    <dgm:pt modelId="{194E1191-1740-480B-B0B1-EB05EBBA8DE3}" type="pres">
      <dgm:prSet presAssocID="{C2020FB7-CAE3-4BDB-BD39-15D674DC310F}" presName="hierChild4" presStyleCnt="0"/>
      <dgm:spPr/>
    </dgm:pt>
    <dgm:pt modelId="{B9E9112B-D1D8-4A76-AB7D-9C79567E2B91}" type="pres">
      <dgm:prSet presAssocID="{C2020FB7-CAE3-4BDB-BD39-15D674DC310F}" presName="hierChild5" presStyleCnt="0"/>
      <dgm:spPr/>
    </dgm:pt>
    <dgm:pt modelId="{D223A6CA-8F4A-482B-874A-A7055B8DBA3E}" type="pres">
      <dgm:prSet presAssocID="{A1FE282C-D522-4FA3-AA60-7C4742438FAF}" presName="Name50" presStyleLbl="parChTrans1D3" presStyleIdx="1" presStyleCnt="5"/>
      <dgm:spPr/>
      <dgm:t>
        <a:bodyPr/>
        <a:lstStyle/>
        <a:p>
          <a:endParaRPr lang="ru-RU"/>
        </a:p>
      </dgm:t>
    </dgm:pt>
    <dgm:pt modelId="{E4DC0C79-C6CE-4F11-A180-087830483C35}" type="pres">
      <dgm:prSet presAssocID="{A5271818-8FFC-4889-8751-DFC7CC93551F}" presName="hierRoot2" presStyleCnt="0">
        <dgm:presLayoutVars>
          <dgm:hierBranch val="init"/>
        </dgm:presLayoutVars>
      </dgm:prSet>
      <dgm:spPr/>
    </dgm:pt>
    <dgm:pt modelId="{7C864586-8773-41D3-9B17-FF76E0C480BD}" type="pres">
      <dgm:prSet presAssocID="{A5271818-8FFC-4889-8751-DFC7CC93551F}" presName="rootComposite" presStyleCnt="0"/>
      <dgm:spPr/>
    </dgm:pt>
    <dgm:pt modelId="{E3FFDB34-9B1A-4D24-9093-301D761E1D13}" type="pres">
      <dgm:prSet presAssocID="{A5271818-8FFC-4889-8751-DFC7CC93551F}" presName="rootText" presStyleLbl="node3" presStyleIdx="1" presStyleCnt="5" custScaleX="122555" custScaleY="11407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ACB0AC5-4985-4BF3-AF80-09E93B0212E6}" type="pres">
      <dgm:prSet presAssocID="{A5271818-8FFC-4889-8751-DFC7CC93551F}" presName="rootConnector" presStyleLbl="node3" presStyleIdx="1" presStyleCnt="5"/>
      <dgm:spPr/>
      <dgm:t>
        <a:bodyPr/>
        <a:lstStyle/>
        <a:p>
          <a:endParaRPr lang="ru-RU"/>
        </a:p>
      </dgm:t>
    </dgm:pt>
    <dgm:pt modelId="{6563226A-F6E6-496D-9B80-D08324F82105}" type="pres">
      <dgm:prSet presAssocID="{A5271818-8FFC-4889-8751-DFC7CC93551F}" presName="hierChild4" presStyleCnt="0"/>
      <dgm:spPr/>
    </dgm:pt>
    <dgm:pt modelId="{34D62295-0395-4EA5-B31A-4BB38DD6CD96}" type="pres">
      <dgm:prSet presAssocID="{A5271818-8FFC-4889-8751-DFC7CC93551F}" presName="hierChild5" presStyleCnt="0"/>
      <dgm:spPr/>
    </dgm:pt>
    <dgm:pt modelId="{B6558350-94C1-404B-A440-846C1C8BD86C}" type="pres">
      <dgm:prSet presAssocID="{64E48B04-A0A4-4D19-B813-854B873305D5}" presName="Name50" presStyleLbl="parChTrans1D3" presStyleIdx="2" presStyleCnt="5"/>
      <dgm:spPr/>
      <dgm:t>
        <a:bodyPr/>
        <a:lstStyle/>
        <a:p>
          <a:endParaRPr lang="ru-RU"/>
        </a:p>
      </dgm:t>
    </dgm:pt>
    <dgm:pt modelId="{172E7BC6-E21A-4950-880D-27B6D0D53AFC}" type="pres">
      <dgm:prSet presAssocID="{C6F3F639-0514-4C20-8304-FCC87B697CAA}" presName="hierRoot2" presStyleCnt="0">
        <dgm:presLayoutVars>
          <dgm:hierBranch val="init"/>
        </dgm:presLayoutVars>
      </dgm:prSet>
      <dgm:spPr/>
    </dgm:pt>
    <dgm:pt modelId="{0EC5BE26-0BF5-43C9-95B7-363FB08B64A7}" type="pres">
      <dgm:prSet presAssocID="{C6F3F639-0514-4C20-8304-FCC87B697CAA}" presName="rootComposite" presStyleCnt="0"/>
      <dgm:spPr/>
    </dgm:pt>
    <dgm:pt modelId="{04379EEA-44C3-4332-BA63-655736CD0F97}" type="pres">
      <dgm:prSet presAssocID="{C6F3F639-0514-4C20-8304-FCC87B697CAA}" presName="rootText" presStyleLbl="node3" presStyleIdx="2" presStyleCnt="5" custScaleX="12469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38F19BD-76AD-452A-9085-CF9045A78451}" type="pres">
      <dgm:prSet presAssocID="{C6F3F639-0514-4C20-8304-FCC87B697CAA}" presName="rootConnector" presStyleLbl="node3" presStyleIdx="2" presStyleCnt="5"/>
      <dgm:spPr/>
      <dgm:t>
        <a:bodyPr/>
        <a:lstStyle/>
        <a:p>
          <a:endParaRPr lang="ru-RU"/>
        </a:p>
      </dgm:t>
    </dgm:pt>
    <dgm:pt modelId="{3590B558-6F91-42A3-A373-D8981BFBD6F0}" type="pres">
      <dgm:prSet presAssocID="{C6F3F639-0514-4C20-8304-FCC87B697CAA}" presName="hierChild4" presStyleCnt="0"/>
      <dgm:spPr/>
    </dgm:pt>
    <dgm:pt modelId="{394C9DE4-EF77-4547-AB0A-D7DFF49BC41D}" type="pres">
      <dgm:prSet presAssocID="{C6F3F639-0514-4C20-8304-FCC87B697CAA}" presName="hierChild5" presStyleCnt="0"/>
      <dgm:spPr/>
    </dgm:pt>
    <dgm:pt modelId="{59FF6E15-56DB-4544-9A43-5048BADF78A2}" type="pres">
      <dgm:prSet presAssocID="{62845E5A-CFDA-43A4-A175-3FE7E18AAB9D}" presName="hierChild5" presStyleCnt="0"/>
      <dgm:spPr/>
    </dgm:pt>
    <dgm:pt modelId="{76766E04-AB40-4C90-B85A-2DD54E32A4B7}" type="pres">
      <dgm:prSet presAssocID="{5E1B1ABA-70C1-448F-AE1E-4F77D8F09A30}" presName="Name37" presStyleLbl="parChTrans1D2" presStyleIdx="1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054"/>
              </a:lnTo>
              <a:lnTo>
                <a:pt x="1394694" y="242054"/>
              </a:lnTo>
              <a:lnTo>
                <a:pt x="1394694" y="484108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11FE6F29-C7A6-43B0-B0D3-9244B17387A7}" type="pres">
      <dgm:prSet presAssocID="{3E2B8300-4FE2-4138-8222-2B679D942955}" presName="hierRoot2" presStyleCnt="0">
        <dgm:presLayoutVars>
          <dgm:hierBranch val="r"/>
        </dgm:presLayoutVars>
      </dgm:prSet>
      <dgm:spPr/>
    </dgm:pt>
    <dgm:pt modelId="{52C75AC7-0B6E-49AE-A08C-EF3566FCA8FA}" type="pres">
      <dgm:prSet presAssocID="{3E2B8300-4FE2-4138-8222-2B679D942955}" presName="rootComposite" presStyleCnt="0"/>
      <dgm:spPr/>
    </dgm:pt>
    <dgm:pt modelId="{D676C4ED-EF9D-4967-B436-53A99AE5A1EF}" type="pres">
      <dgm:prSet presAssocID="{3E2B8300-4FE2-4138-8222-2B679D942955}" presName="rootText" presStyleLbl="node2" presStyleIdx="1" presStyleCnt="2" custScaleX="145125" custScaleY="77630" custLinFactNeighborY="17051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CA99E75-3357-4396-AD82-A116C2D89CC4}" type="pres">
      <dgm:prSet presAssocID="{3E2B8300-4FE2-4138-8222-2B679D942955}" presName="rootConnector" presStyleLbl="node2" presStyleIdx="1" presStyleCnt="2"/>
      <dgm:spPr/>
      <dgm:t>
        <a:bodyPr/>
        <a:lstStyle/>
        <a:p>
          <a:endParaRPr lang="ru-RU"/>
        </a:p>
      </dgm:t>
    </dgm:pt>
    <dgm:pt modelId="{9C673A67-1BD6-4EFE-AFBF-8F3AFE19BFCA}" type="pres">
      <dgm:prSet presAssocID="{3E2B8300-4FE2-4138-8222-2B679D942955}" presName="hierChild4" presStyleCnt="0"/>
      <dgm:spPr/>
    </dgm:pt>
    <dgm:pt modelId="{1FB1CC15-081A-43B4-A566-44BF7960C5E3}" type="pres">
      <dgm:prSet presAssocID="{88B18C11-572D-4650-8D09-BBE207C97B0C}" presName="Name50" presStyleLbl="parChTrans1D3" presStyleIdx="3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0428"/>
              </a:lnTo>
              <a:lnTo>
                <a:pt x="345791" y="1060428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82BDEC22-A274-4BB2-9C9E-71AFC89ECABD}" type="pres">
      <dgm:prSet presAssocID="{AF7527FA-6F46-4E8C-BEE8-6513FB88E6A0}" presName="hierRoot2" presStyleCnt="0">
        <dgm:presLayoutVars>
          <dgm:hierBranch val="init"/>
        </dgm:presLayoutVars>
      </dgm:prSet>
      <dgm:spPr/>
    </dgm:pt>
    <dgm:pt modelId="{305FC9C8-B3BC-4CD0-90CF-0EADC9464149}" type="pres">
      <dgm:prSet presAssocID="{AF7527FA-6F46-4E8C-BEE8-6513FB88E6A0}" presName="rootComposite" presStyleCnt="0"/>
      <dgm:spPr/>
    </dgm:pt>
    <dgm:pt modelId="{D4E4AA9D-A765-4B0C-BC7A-8487D414E3C0}" type="pres">
      <dgm:prSet presAssocID="{AF7527FA-6F46-4E8C-BEE8-6513FB88E6A0}" presName="rootText" presStyleLbl="node3" presStyleIdx="3" presStyleCnt="5" custScaleX="116506" custScaleY="190229" custLinFactNeighborX="-6336" custLinFactNeighborY="-230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3CAB327A-CCEC-42E4-A679-16DD03998731}" type="pres">
      <dgm:prSet presAssocID="{AF7527FA-6F46-4E8C-BEE8-6513FB88E6A0}" presName="rootConnector" presStyleLbl="node3" presStyleIdx="3" presStyleCnt="5"/>
      <dgm:spPr/>
      <dgm:t>
        <a:bodyPr/>
        <a:lstStyle/>
        <a:p>
          <a:endParaRPr lang="ru-RU"/>
        </a:p>
      </dgm:t>
    </dgm:pt>
    <dgm:pt modelId="{43803702-ADFA-4DAF-A9A5-347E5EE26B0C}" type="pres">
      <dgm:prSet presAssocID="{AF7527FA-6F46-4E8C-BEE8-6513FB88E6A0}" presName="hierChild4" presStyleCnt="0"/>
      <dgm:spPr/>
    </dgm:pt>
    <dgm:pt modelId="{DF9621B9-F171-434E-ACF2-67E7B3C47DFC}" type="pres">
      <dgm:prSet presAssocID="{AF7527FA-6F46-4E8C-BEE8-6513FB88E6A0}" presName="hierChild5" presStyleCnt="0"/>
      <dgm:spPr/>
    </dgm:pt>
    <dgm:pt modelId="{DAB0B051-B552-430A-B822-73D6FA10D4C1}" type="pres">
      <dgm:prSet presAssocID="{FB557F7F-E744-4403-AC70-E2E4FA074DA6}" presName="Name50" presStyleLbl="parChTrans1D3" presStyleIdx="4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97177"/>
              </a:lnTo>
              <a:lnTo>
                <a:pt x="345791" y="2697177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C84F3671-1183-4EB7-A0B6-23A8C45DA8CD}" type="pres">
      <dgm:prSet presAssocID="{C25FC57A-7074-4A79-8E73-860D817C4812}" presName="hierRoot2" presStyleCnt="0">
        <dgm:presLayoutVars>
          <dgm:hierBranch val="init"/>
        </dgm:presLayoutVars>
      </dgm:prSet>
      <dgm:spPr/>
    </dgm:pt>
    <dgm:pt modelId="{FADBFB1F-E4F2-458B-B0D2-27862AD745E4}" type="pres">
      <dgm:prSet presAssocID="{C25FC57A-7074-4A79-8E73-860D817C4812}" presName="rootComposite" presStyleCnt="0"/>
      <dgm:spPr/>
    </dgm:pt>
    <dgm:pt modelId="{E89CE5CB-1149-4EA4-B343-36759791C76C}" type="pres">
      <dgm:prSet presAssocID="{C25FC57A-7074-4A79-8E73-860D817C4812}" presName="rootText" presStyleLbl="node3" presStyleIdx="4" presStyleCnt="5" custScaleX="115731" custScaleY="177520" custLinFactNeighborX="-505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2FAE06A6-2FBB-44A7-B5B1-5FF4022708E8}" type="pres">
      <dgm:prSet presAssocID="{C25FC57A-7074-4A79-8E73-860D817C4812}" presName="rootConnector" presStyleLbl="node3" presStyleIdx="4" presStyleCnt="5"/>
      <dgm:spPr/>
      <dgm:t>
        <a:bodyPr/>
        <a:lstStyle/>
        <a:p>
          <a:endParaRPr lang="ru-RU"/>
        </a:p>
      </dgm:t>
    </dgm:pt>
    <dgm:pt modelId="{0D4B91EB-DBAD-454F-ABA5-58E106DF591E}" type="pres">
      <dgm:prSet presAssocID="{C25FC57A-7074-4A79-8E73-860D817C4812}" presName="hierChild4" presStyleCnt="0"/>
      <dgm:spPr/>
    </dgm:pt>
    <dgm:pt modelId="{348ADB0A-A5D9-47A7-81ED-912EE58E8128}" type="pres">
      <dgm:prSet presAssocID="{C25FC57A-7074-4A79-8E73-860D817C4812}" presName="hierChild5" presStyleCnt="0"/>
      <dgm:spPr/>
    </dgm:pt>
    <dgm:pt modelId="{5E2D4BB0-F273-434C-981D-93033943D098}" type="pres">
      <dgm:prSet presAssocID="{3E2B8300-4FE2-4138-8222-2B679D942955}" presName="hierChild5" presStyleCnt="0"/>
      <dgm:spPr/>
    </dgm:pt>
    <dgm:pt modelId="{E7E01BF0-2924-47C8-806D-689B743DE211}" type="pres">
      <dgm:prSet presAssocID="{EF2FDE5C-1760-40FC-B6F2-CE09D3741413}" presName="hierChild3" presStyleCnt="0"/>
      <dgm:spPr/>
    </dgm:pt>
  </dgm:ptLst>
  <dgm:cxnLst>
    <dgm:cxn modelId="{3B85F002-3195-4C1C-9573-4B6361F26168}" type="presOf" srcId="{C2020FB7-CAE3-4BDB-BD39-15D674DC310F}" destId="{2F2B9F78-DF71-4B6E-A9C5-B66ED2D87466}" srcOrd="0" destOrd="0" presId="urn:microsoft.com/office/officeart/2005/8/layout/orgChart1"/>
    <dgm:cxn modelId="{979D8A3F-6DE9-4FEB-90C7-B15E81E6C751}" type="presOf" srcId="{A5271818-8FFC-4889-8751-DFC7CC93551F}" destId="{E3FFDB34-9B1A-4D24-9093-301D761E1D13}" srcOrd="0" destOrd="0" presId="urn:microsoft.com/office/officeart/2005/8/layout/orgChart1"/>
    <dgm:cxn modelId="{70C7ED2B-76C3-47FF-B016-7C136B3F68F1}" type="presOf" srcId="{FB557F7F-E744-4403-AC70-E2E4FA074DA6}" destId="{DAB0B051-B552-430A-B822-73D6FA10D4C1}" srcOrd="0" destOrd="0" presId="urn:microsoft.com/office/officeart/2005/8/layout/orgChart1"/>
    <dgm:cxn modelId="{A1DC315A-A5AF-4082-A714-48390CD5BD65}" type="presOf" srcId="{F5279F98-5EA9-4284-96B4-A3FA73BA6483}" destId="{ABA7776E-8B85-4795-8F6E-F051B86EA04C}" srcOrd="0" destOrd="0" presId="urn:microsoft.com/office/officeart/2005/8/layout/orgChart1"/>
    <dgm:cxn modelId="{21A594FC-E880-4662-81B0-4A887E2E00E6}" srcId="{EF2FDE5C-1760-40FC-B6F2-CE09D3741413}" destId="{3E2B8300-4FE2-4138-8222-2B679D942955}" srcOrd="1" destOrd="0" parTransId="{5E1B1ABA-70C1-448F-AE1E-4F77D8F09A30}" sibTransId="{9A9B4DCF-CA33-4388-8287-11AF45DE5CD7}"/>
    <dgm:cxn modelId="{25230F0E-AA40-43D1-BAE9-074CD87272DF}" srcId="{EF2FDE5C-1760-40FC-B6F2-CE09D3741413}" destId="{62845E5A-CFDA-43A4-A175-3FE7E18AAB9D}" srcOrd="0" destOrd="0" parTransId="{8774D463-001D-496D-A902-0C64F4645E58}" sibTransId="{AC488FA3-D88B-4E10-89A5-D5E327A01F99}"/>
    <dgm:cxn modelId="{A5ECD35F-2C5D-4BDC-B7D7-BD439B6B3C64}" type="presOf" srcId="{62845E5A-CFDA-43A4-A175-3FE7E18AAB9D}" destId="{F1DE3BBD-0312-4359-9B0C-3023DDBA6AFA}" srcOrd="0" destOrd="0" presId="urn:microsoft.com/office/officeart/2005/8/layout/orgChart1"/>
    <dgm:cxn modelId="{AFD99E5D-FE41-46F3-BAC0-826B29A93967}" type="presOf" srcId="{C25FC57A-7074-4A79-8E73-860D817C4812}" destId="{E89CE5CB-1149-4EA4-B343-36759791C76C}" srcOrd="0" destOrd="0" presId="urn:microsoft.com/office/officeart/2005/8/layout/orgChart1"/>
    <dgm:cxn modelId="{3F9B2901-4EF9-4E5F-8770-23DD9B202B94}" type="presOf" srcId="{EF2FDE5C-1760-40FC-B6F2-CE09D3741413}" destId="{A17D171F-81BC-4C23-8156-C56C635B07DC}" srcOrd="1" destOrd="0" presId="urn:microsoft.com/office/officeart/2005/8/layout/orgChart1"/>
    <dgm:cxn modelId="{5F3916DF-B230-49FF-809E-67ACA13B00E4}" type="presOf" srcId="{A1FE282C-D522-4FA3-AA60-7C4742438FAF}" destId="{D223A6CA-8F4A-482B-874A-A7055B8DBA3E}" srcOrd="0" destOrd="0" presId="urn:microsoft.com/office/officeart/2005/8/layout/orgChart1"/>
    <dgm:cxn modelId="{60DFEB98-719E-43C0-B91F-D2DECA84D0DC}" type="presOf" srcId="{36DFF4EE-0D44-4D0E-B16F-AAB445B56152}" destId="{017A8E84-E7CE-4EBD-93C9-1AC59B29CAFC}" srcOrd="0" destOrd="0" presId="urn:microsoft.com/office/officeart/2005/8/layout/orgChart1"/>
    <dgm:cxn modelId="{54607B07-0370-44AB-A130-A5362D3A8D79}" type="presOf" srcId="{3E2B8300-4FE2-4138-8222-2B679D942955}" destId="{D676C4ED-EF9D-4967-B436-53A99AE5A1EF}" srcOrd="0" destOrd="0" presId="urn:microsoft.com/office/officeart/2005/8/layout/orgChart1"/>
    <dgm:cxn modelId="{39FC8AA2-4BC2-4B54-93B1-A0F6A156DC1C}" type="presOf" srcId="{5E1B1ABA-70C1-448F-AE1E-4F77D8F09A30}" destId="{76766E04-AB40-4C90-B85A-2DD54E32A4B7}" srcOrd="0" destOrd="0" presId="urn:microsoft.com/office/officeart/2005/8/layout/orgChart1"/>
    <dgm:cxn modelId="{A681CEC2-B8A5-4936-8298-688D7D28C0BF}" type="presOf" srcId="{C6F3F639-0514-4C20-8304-FCC87B697CAA}" destId="{04379EEA-44C3-4332-BA63-655736CD0F97}" srcOrd="0" destOrd="0" presId="urn:microsoft.com/office/officeart/2005/8/layout/orgChart1"/>
    <dgm:cxn modelId="{DA28A1FB-9B6F-4B23-8643-BF7F399A3F31}" type="presOf" srcId="{AF7527FA-6F46-4E8C-BEE8-6513FB88E6A0}" destId="{3CAB327A-CCEC-42E4-A679-16DD03998731}" srcOrd="1" destOrd="0" presId="urn:microsoft.com/office/officeart/2005/8/layout/orgChart1"/>
    <dgm:cxn modelId="{61C635BA-A6E4-4843-8D7A-9AE77C8166F7}" type="presOf" srcId="{C6F3F639-0514-4C20-8304-FCC87B697CAA}" destId="{138F19BD-76AD-452A-9085-CF9045A78451}" srcOrd="1" destOrd="0" presId="urn:microsoft.com/office/officeart/2005/8/layout/orgChart1"/>
    <dgm:cxn modelId="{98758DD0-1E90-4122-8A53-31104ACD19E5}" type="presOf" srcId="{88B18C11-572D-4650-8D09-BBE207C97B0C}" destId="{1FB1CC15-081A-43B4-A566-44BF7960C5E3}" srcOrd="0" destOrd="0" presId="urn:microsoft.com/office/officeart/2005/8/layout/orgChart1"/>
    <dgm:cxn modelId="{2D0EF5EC-1CC9-4183-911F-F5D2E8A88A6D}" type="presOf" srcId="{EF2FDE5C-1760-40FC-B6F2-CE09D3741413}" destId="{E8DFF083-664F-419B-B5F1-9FFBE275C46E}" srcOrd="0" destOrd="0" presId="urn:microsoft.com/office/officeart/2005/8/layout/orgChart1"/>
    <dgm:cxn modelId="{C19874CD-291B-460E-9E31-99455E238552}" type="presOf" srcId="{8774D463-001D-496D-A902-0C64F4645E58}" destId="{EF091779-A3F4-499D-8E3A-95CD769CAC92}" srcOrd="0" destOrd="0" presId="urn:microsoft.com/office/officeart/2005/8/layout/orgChart1"/>
    <dgm:cxn modelId="{48A50996-9679-4938-8137-B105B6573AB3}" type="presOf" srcId="{A5271818-8FFC-4889-8751-DFC7CC93551F}" destId="{EACB0AC5-4985-4BF3-AF80-09E93B0212E6}" srcOrd="1" destOrd="0" presId="urn:microsoft.com/office/officeart/2005/8/layout/orgChart1"/>
    <dgm:cxn modelId="{CFC4D83E-24F0-4AC6-9433-D7F210DA60E5}" type="presOf" srcId="{3E2B8300-4FE2-4138-8222-2B679D942955}" destId="{1CA99E75-3357-4396-AD82-A116C2D89CC4}" srcOrd="1" destOrd="0" presId="urn:microsoft.com/office/officeart/2005/8/layout/orgChart1"/>
    <dgm:cxn modelId="{1C4EA900-0FFD-40C3-991D-9D2187C380C6}" type="presOf" srcId="{C2020FB7-CAE3-4BDB-BD39-15D674DC310F}" destId="{AF789D60-8F70-434B-A8DF-2DE618E6A793}" srcOrd="1" destOrd="0" presId="urn:microsoft.com/office/officeart/2005/8/layout/orgChart1"/>
    <dgm:cxn modelId="{A1E70A2B-C311-4502-8508-541811224AA7}" srcId="{62845E5A-CFDA-43A4-A175-3FE7E18AAB9D}" destId="{C6F3F639-0514-4C20-8304-FCC87B697CAA}" srcOrd="2" destOrd="0" parTransId="{64E48B04-A0A4-4D19-B813-854B873305D5}" sibTransId="{4625F481-19DC-4DAC-8910-7644F0A2EDC7}"/>
    <dgm:cxn modelId="{55CC0CD6-C34C-4FFE-838B-9C6B9491245D}" srcId="{62845E5A-CFDA-43A4-A175-3FE7E18AAB9D}" destId="{C2020FB7-CAE3-4BDB-BD39-15D674DC310F}" srcOrd="0" destOrd="0" parTransId="{F5279F98-5EA9-4284-96B4-A3FA73BA6483}" sibTransId="{3453420A-6374-45CA-9F14-F0C8581EA488}"/>
    <dgm:cxn modelId="{0FD444D0-AE75-48E3-9A98-081561BBD9FC}" srcId="{62845E5A-CFDA-43A4-A175-3FE7E18AAB9D}" destId="{A5271818-8FFC-4889-8751-DFC7CC93551F}" srcOrd="1" destOrd="0" parTransId="{A1FE282C-D522-4FA3-AA60-7C4742438FAF}" sibTransId="{5DF001B4-5556-4C35-B0C8-0456C03C4811}"/>
    <dgm:cxn modelId="{DFC7E829-0DF3-492C-99CE-FA83EBBD2311}" type="presOf" srcId="{62845E5A-CFDA-43A4-A175-3FE7E18AAB9D}" destId="{34076914-351E-490E-9F03-D78FFD681661}" srcOrd="1" destOrd="0" presId="urn:microsoft.com/office/officeart/2005/8/layout/orgChart1"/>
    <dgm:cxn modelId="{46F5C6F9-5FD0-4EAA-8200-8C3A004BDC76}" srcId="{3E2B8300-4FE2-4138-8222-2B679D942955}" destId="{C25FC57A-7074-4A79-8E73-860D817C4812}" srcOrd="1" destOrd="0" parTransId="{FB557F7F-E744-4403-AC70-E2E4FA074DA6}" sibTransId="{34F5EED9-6228-436F-A351-E8A4F19F30D0}"/>
    <dgm:cxn modelId="{89E6ABB7-6D97-4E9A-9352-56765DF3A843}" srcId="{3E2B8300-4FE2-4138-8222-2B679D942955}" destId="{AF7527FA-6F46-4E8C-BEE8-6513FB88E6A0}" srcOrd="0" destOrd="0" parTransId="{88B18C11-572D-4650-8D09-BBE207C97B0C}" sibTransId="{1DB4260C-2609-4E7E-956D-8248F3116709}"/>
    <dgm:cxn modelId="{3149D8A5-C5AC-43DF-9F7C-D07B2565896B}" type="presOf" srcId="{64E48B04-A0A4-4D19-B813-854B873305D5}" destId="{B6558350-94C1-404B-A440-846C1C8BD86C}" srcOrd="0" destOrd="0" presId="urn:microsoft.com/office/officeart/2005/8/layout/orgChart1"/>
    <dgm:cxn modelId="{2EB97302-0E3B-46AA-93D0-06FF50952881}" type="presOf" srcId="{C25FC57A-7074-4A79-8E73-860D817C4812}" destId="{2FAE06A6-2FBB-44A7-B5B1-5FF4022708E8}" srcOrd="1" destOrd="0" presId="urn:microsoft.com/office/officeart/2005/8/layout/orgChart1"/>
    <dgm:cxn modelId="{A71ACA94-C69A-461E-870C-C9FF97066C14}" srcId="{36DFF4EE-0D44-4D0E-B16F-AAB445B56152}" destId="{EF2FDE5C-1760-40FC-B6F2-CE09D3741413}" srcOrd="0" destOrd="0" parTransId="{5417697D-5A56-4E21-9AE9-40B8048F99BD}" sibTransId="{E5482495-74C9-4131-8C79-F34938ED8B2E}"/>
    <dgm:cxn modelId="{DF1AF171-677B-48CC-B8ED-58CF35D21D4A}" type="presOf" srcId="{AF7527FA-6F46-4E8C-BEE8-6513FB88E6A0}" destId="{D4E4AA9D-A765-4B0C-BC7A-8487D414E3C0}" srcOrd="0" destOrd="0" presId="urn:microsoft.com/office/officeart/2005/8/layout/orgChart1"/>
    <dgm:cxn modelId="{4B92A804-B21E-4468-8B21-C957A098FBD6}" type="presParOf" srcId="{017A8E84-E7CE-4EBD-93C9-1AC59B29CAFC}" destId="{5EBC3769-E0D2-4A02-B4A4-21CCFEAE7CFE}" srcOrd="0" destOrd="0" presId="urn:microsoft.com/office/officeart/2005/8/layout/orgChart1"/>
    <dgm:cxn modelId="{9D492716-5DAE-4CA0-813B-5A63ADB2F735}" type="presParOf" srcId="{5EBC3769-E0D2-4A02-B4A4-21CCFEAE7CFE}" destId="{930CF38E-3021-4E37-9C64-0E842B12D937}" srcOrd="0" destOrd="0" presId="urn:microsoft.com/office/officeart/2005/8/layout/orgChart1"/>
    <dgm:cxn modelId="{0A85C608-EFAD-46A6-BCB4-86F1700D0FE5}" type="presParOf" srcId="{930CF38E-3021-4E37-9C64-0E842B12D937}" destId="{E8DFF083-664F-419B-B5F1-9FFBE275C46E}" srcOrd="0" destOrd="0" presId="urn:microsoft.com/office/officeart/2005/8/layout/orgChart1"/>
    <dgm:cxn modelId="{5BABFEE8-E089-406D-BF36-4F3D0B9948BB}" type="presParOf" srcId="{930CF38E-3021-4E37-9C64-0E842B12D937}" destId="{A17D171F-81BC-4C23-8156-C56C635B07DC}" srcOrd="1" destOrd="0" presId="urn:microsoft.com/office/officeart/2005/8/layout/orgChart1"/>
    <dgm:cxn modelId="{4DD4B2BD-BC27-4821-8736-89E9847513AE}" type="presParOf" srcId="{5EBC3769-E0D2-4A02-B4A4-21CCFEAE7CFE}" destId="{7ADCFA3F-6001-46B8-A8BC-C7BC2491D2DF}" srcOrd="1" destOrd="0" presId="urn:microsoft.com/office/officeart/2005/8/layout/orgChart1"/>
    <dgm:cxn modelId="{5035D785-8B85-4552-9438-FA4CEF54913B}" type="presParOf" srcId="{7ADCFA3F-6001-46B8-A8BC-C7BC2491D2DF}" destId="{EF091779-A3F4-499D-8E3A-95CD769CAC92}" srcOrd="0" destOrd="0" presId="urn:microsoft.com/office/officeart/2005/8/layout/orgChart1"/>
    <dgm:cxn modelId="{39941C85-FF23-490F-BDCD-FE20FE990F05}" type="presParOf" srcId="{7ADCFA3F-6001-46B8-A8BC-C7BC2491D2DF}" destId="{25A421B4-CA9E-4B23-95B1-FA1D9C73A4AD}" srcOrd="1" destOrd="0" presId="urn:microsoft.com/office/officeart/2005/8/layout/orgChart1"/>
    <dgm:cxn modelId="{073CF527-1650-4E5E-A391-8A7B0BC369A8}" type="presParOf" srcId="{25A421B4-CA9E-4B23-95B1-FA1D9C73A4AD}" destId="{4F8246A6-BB4A-425A-9571-AB2488BEAF53}" srcOrd="0" destOrd="0" presId="urn:microsoft.com/office/officeart/2005/8/layout/orgChart1"/>
    <dgm:cxn modelId="{5E21D45D-5260-400A-AE10-708372D5CAD4}" type="presParOf" srcId="{4F8246A6-BB4A-425A-9571-AB2488BEAF53}" destId="{F1DE3BBD-0312-4359-9B0C-3023DDBA6AFA}" srcOrd="0" destOrd="0" presId="urn:microsoft.com/office/officeart/2005/8/layout/orgChart1"/>
    <dgm:cxn modelId="{DFF1FD2C-32C8-460F-94CF-4F2D30F4D218}" type="presParOf" srcId="{4F8246A6-BB4A-425A-9571-AB2488BEAF53}" destId="{34076914-351E-490E-9F03-D78FFD681661}" srcOrd="1" destOrd="0" presId="urn:microsoft.com/office/officeart/2005/8/layout/orgChart1"/>
    <dgm:cxn modelId="{AD6D1CF2-F090-4E2E-8E6A-FA7A6F0F29E3}" type="presParOf" srcId="{25A421B4-CA9E-4B23-95B1-FA1D9C73A4AD}" destId="{DC68DE07-F38D-49A6-B293-96BA2004C88B}" srcOrd="1" destOrd="0" presId="urn:microsoft.com/office/officeart/2005/8/layout/orgChart1"/>
    <dgm:cxn modelId="{AB6EE327-C046-40E6-9D29-3E02635463C2}" type="presParOf" srcId="{DC68DE07-F38D-49A6-B293-96BA2004C88B}" destId="{ABA7776E-8B85-4795-8F6E-F051B86EA04C}" srcOrd="0" destOrd="0" presId="urn:microsoft.com/office/officeart/2005/8/layout/orgChart1"/>
    <dgm:cxn modelId="{CB53D91E-43B6-4A01-8F69-9AA979A06A7E}" type="presParOf" srcId="{DC68DE07-F38D-49A6-B293-96BA2004C88B}" destId="{EDD2C53D-31ED-4786-983D-BB58A6204EE9}" srcOrd="1" destOrd="0" presId="urn:microsoft.com/office/officeart/2005/8/layout/orgChart1"/>
    <dgm:cxn modelId="{BF38E8DE-594C-4842-85BC-C8D742C8B392}" type="presParOf" srcId="{EDD2C53D-31ED-4786-983D-BB58A6204EE9}" destId="{D28E683F-BDB8-4C11-96D9-2D49EE194CBA}" srcOrd="0" destOrd="0" presId="urn:microsoft.com/office/officeart/2005/8/layout/orgChart1"/>
    <dgm:cxn modelId="{C1E0EEB2-91E1-4F2F-A5C5-E78E81D02A09}" type="presParOf" srcId="{D28E683F-BDB8-4C11-96D9-2D49EE194CBA}" destId="{2F2B9F78-DF71-4B6E-A9C5-B66ED2D87466}" srcOrd="0" destOrd="0" presId="urn:microsoft.com/office/officeart/2005/8/layout/orgChart1"/>
    <dgm:cxn modelId="{173A5CCF-5D01-4923-9685-C04C1D5EF5F4}" type="presParOf" srcId="{D28E683F-BDB8-4C11-96D9-2D49EE194CBA}" destId="{AF789D60-8F70-434B-A8DF-2DE618E6A793}" srcOrd="1" destOrd="0" presId="urn:microsoft.com/office/officeart/2005/8/layout/orgChart1"/>
    <dgm:cxn modelId="{21E498B4-46D8-4A6F-9B53-958C7740FFAC}" type="presParOf" srcId="{EDD2C53D-31ED-4786-983D-BB58A6204EE9}" destId="{194E1191-1740-480B-B0B1-EB05EBBA8DE3}" srcOrd="1" destOrd="0" presId="urn:microsoft.com/office/officeart/2005/8/layout/orgChart1"/>
    <dgm:cxn modelId="{CCD39EC4-917A-4BDE-9EC8-CB25A5ADBF32}" type="presParOf" srcId="{EDD2C53D-31ED-4786-983D-BB58A6204EE9}" destId="{B9E9112B-D1D8-4A76-AB7D-9C79567E2B91}" srcOrd="2" destOrd="0" presId="urn:microsoft.com/office/officeart/2005/8/layout/orgChart1"/>
    <dgm:cxn modelId="{C2FF8943-858E-4617-A90A-58524097D79A}" type="presParOf" srcId="{DC68DE07-F38D-49A6-B293-96BA2004C88B}" destId="{D223A6CA-8F4A-482B-874A-A7055B8DBA3E}" srcOrd="2" destOrd="0" presId="urn:microsoft.com/office/officeart/2005/8/layout/orgChart1"/>
    <dgm:cxn modelId="{D2423B9B-8227-4CE9-9EBC-464CF299F708}" type="presParOf" srcId="{DC68DE07-F38D-49A6-B293-96BA2004C88B}" destId="{E4DC0C79-C6CE-4F11-A180-087830483C35}" srcOrd="3" destOrd="0" presId="urn:microsoft.com/office/officeart/2005/8/layout/orgChart1"/>
    <dgm:cxn modelId="{6566BD3D-85EC-41C2-9173-603BF44E1FA7}" type="presParOf" srcId="{E4DC0C79-C6CE-4F11-A180-087830483C35}" destId="{7C864586-8773-41D3-9B17-FF76E0C480BD}" srcOrd="0" destOrd="0" presId="urn:microsoft.com/office/officeart/2005/8/layout/orgChart1"/>
    <dgm:cxn modelId="{193FC8ED-FF8F-4862-9F9B-B27F934BFC2D}" type="presParOf" srcId="{7C864586-8773-41D3-9B17-FF76E0C480BD}" destId="{E3FFDB34-9B1A-4D24-9093-301D761E1D13}" srcOrd="0" destOrd="0" presId="urn:microsoft.com/office/officeart/2005/8/layout/orgChart1"/>
    <dgm:cxn modelId="{FC79EDCB-3945-4BBB-ADCA-1A72A4ECEFB3}" type="presParOf" srcId="{7C864586-8773-41D3-9B17-FF76E0C480BD}" destId="{EACB0AC5-4985-4BF3-AF80-09E93B0212E6}" srcOrd="1" destOrd="0" presId="urn:microsoft.com/office/officeart/2005/8/layout/orgChart1"/>
    <dgm:cxn modelId="{42B1B86A-A7B0-4E53-903A-ABB6527270B9}" type="presParOf" srcId="{E4DC0C79-C6CE-4F11-A180-087830483C35}" destId="{6563226A-F6E6-496D-9B80-D08324F82105}" srcOrd="1" destOrd="0" presId="urn:microsoft.com/office/officeart/2005/8/layout/orgChart1"/>
    <dgm:cxn modelId="{4FAB4D7A-C084-4242-8D5C-BB9DB85F57DA}" type="presParOf" srcId="{E4DC0C79-C6CE-4F11-A180-087830483C35}" destId="{34D62295-0395-4EA5-B31A-4BB38DD6CD96}" srcOrd="2" destOrd="0" presId="urn:microsoft.com/office/officeart/2005/8/layout/orgChart1"/>
    <dgm:cxn modelId="{F2F08068-2728-4127-A8A9-6B5A05239F00}" type="presParOf" srcId="{DC68DE07-F38D-49A6-B293-96BA2004C88B}" destId="{B6558350-94C1-404B-A440-846C1C8BD86C}" srcOrd="4" destOrd="0" presId="urn:microsoft.com/office/officeart/2005/8/layout/orgChart1"/>
    <dgm:cxn modelId="{1E636BA7-0A7D-4082-8E02-4B9FAB934917}" type="presParOf" srcId="{DC68DE07-F38D-49A6-B293-96BA2004C88B}" destId="{172E7BC6-E21A-4950-880D-27B6D0D53AFC}" srcOrd="5" destOrd="0" presId="urn:microsoft.com/office/officeart/2005/8/layout/orgChart1"/>
    <dgm:cxn modelId="{E583E3BC-F99D-4C76-8A76-7A112E336228}" type="presParOf" srcId="{172E7BC6-E21A-4950-880D-27B6D0D53AFC}" destId="{0EC5BE26-0BF5-43C9-95B7-363FB08B64A7}" srcOrd="0" destOrd="0" presId="urn:microsoft.com/office/officeart/2005/8/layout/orgChart1"/>
    <dgm:cxn modelId="{B8531139-5EBC-4B67-85FB-418D081187CE}" type="presParOf" srcId="{0EC5BE26-0BF5-43C9-95B7-363FB08B64A7}" destId="{04379EEA-44C3-4332-BA63-655736CD0F97}" srcOrd="0" destOrd="0" presId="urn:microsoft.com/office/officeart/2005/8/layout/orgChart1"/>
    <dgm:cxn modelId="{C085D579-EA28-4FA5-9DFC-3AE2368C01F1}" type="presParOf" srcId="{0EC5BE26-0BF5-43C9-95B7-363FB08B64A7}" destId="{138F19BD-76AD-452A-9085-CF9045A78451}" srcOrd="1" destOrd="0" presId="urn:microsoft.com/office/officeart/2005/8/layout/orgChart1"/>
    <dgm:cxn modelId="{8B1B2F64-AC5C-4E60-A066-A6BC70369F14}" type="presParOf" srcId="{172E7BC6-E21A-4950-880D-27B6D0D53AFC}" destId="{3590B558-6F91-42A3-A373-D8981BFBD6F0}" srcOrd="1" destOrd="0" presId="urn:microsoft.com/office/officeart/2005/8/layout/orgChart1"/>
    <dgm:cxn modelId="{66D03398-F047-40BB-BA47-CE397C7E79FE}" type="presParOf" srcId="{172E7BC6-E21A-4950-880D-27B6D0D53AFC}" destId="{394C9DE4-EF77-4547-AB0A-D7DFF49BC41D}" srcOrd="2" destOrd="0" presId="urn:microsoft.com/office/officeart/2005/8/layout/orgChart1"/>
    <dgm:cxn modelId="{ADDAB553-DA9A-42DB-9879-C1474C4F9739}" type="presParOf" srcId="{25A421B4-CA9E-4B23-95B1-FA1D9C73A4AD}" destId="{59FF6E15-56DB-4544-9A43-5048BADF78A2}" srcOrd="2" destOrd="0" presId="urn:microsoft.com/office/officeart/2005/8/layout/orgChart1"/>
    <dgm:cxn modelId="{065452BE-A0E9-4D95-BF3C-9BBFDA4788E7}" type="presParOf" srcId="{7ADCFA3F-6001-46B8-A8BC-C7BC2491D2DF}" destId="{76766E04-AB40-4C90-B85A-2DD54E32A4B7}" srcOrd="2" destOrd="0" presId="urn:microsoft.com/office/officeart/2005/8/layout/orgChart1"/>
    <dgm:cxn modelId="{9AA30319-8AA4-4AAD-B9AD-82A6D82396C3}" type="presParOf" srcId="{7ADCFA3F-6001-46B8-A8BC-C7BC2491D2DF}" destId="{11FE6F29-C7A6-43B0-B0D3-9244B17387A7}" srcOrd="3" destOrd="0" presId="urn:microsoft.com/office/officeart/2005/8/layout/orgChart1"/>
    <dgm:cxn modelId="{778DD3A2-1C87-4A57-9DF1-C3E47D2A69DA}" type="presParOf" srcId="{11FE6F29-C7A6-43B0-B0D3-9244B17387A7}" destId="{52C75AC7-0B6E-49AE-A08C-EF3566FCA8FA}" srcOrd="0" destOrd="0" presId="urn:microsoft.com/office/officeart/2005/8/layout/orgChart1"/>
    <dgm:cxn modelId="{6BFC94DD-223C-4F9D-BF21-6155B02A8F43}" type="presParOf" srcId="{52C75AC7-0B6E-49AE-A08C-EF3566FCA8FA}" destId="{D676C4ED-EF9D-4967-B436-53A99AE5A1EF}" srcOrd="0" destOrd="0" presId="urn:microsoft.com/office/officeart/2005/8/layout/orgChart1"/>
    <dgm:cxn modelId="{F93965ED-A1D0-4B08-A621-9E77BABAB3E4}" type="presParOf" srcId="{52C75AC7-0B6E-49AE-A08C-EF3566FCA8FA}" destId="{1CA99E75-3357-4396-AD82-A116C2D89CC4}" srcOrd="1" destOrd="0" presId="urn:microsoft.com/office/officeart/2005/8/layout/orgChart1"/>
    <dgm:cxn modelId="{8EB92346-1FA2-4D9E-AC0D-7D6CD737D2CA}" type="presParOf" srcId="{11FE6F29-C7A6-43B0-B0D3-9244B17387A7}" destId="{9C673A67-1BD6-4EFE-AFBF-8F3AFE19BFCA}" srcOrd="1" destOrd="0" presId="urn:microsoft.com/office/officeart/2005/8/layout/orgChart1"/>
    <dgm:cxn modelId="{C53C9BED-9792-4DC6-B68F-6E10A7D6B81A}" type="presParOf" srcId="{9C673A67-1BD6-4EFE-AFBF-8F3AFE19BFCA}" destId="{1FB1CC15-081A-43B4-A566-44BF7960C5E3}" srcOrd="0" destOrd="0" presId="urn:microsoft.com/office/officeart/2005/8/layout/orgChart1"/>
    <dgm:cxn modelId="{4CE27649-65A6-432B-9F8F-F979772DF233}" type="presParOf" srcId="{9C673A67-1BD6-4EFE-AFBF-8F3AFE19BFCA}" destId="{82BDEC22-A274-4BB2-9C9E-71AFC89ECABD}" srcOrd="1" destOrd="0" presId="urn:microsoft.com/office/officeart/2005/8/layout/orgChart1"/>
    <dgm:cxn modelId="{F3D1DE3F-C8FD-42BF-831B-E4D631FC2F99}" type="presParOf" srcId="{82BDEC22-A274-4BB2-9C9E-71AFC89ECABD}" destId="{305FC9C8-B3BC-4CD0-90CF-0EADC9464149}" srcOrd="0" destOrd="0" presId="urn:microsoft.com/office/officeart/2005/8/layout/orgChart1"/>
    <dgm:cxn modelId="{2202CABC-FD90-4FA4-B326-0536C02E56A8}" type="presParOf" srcId="{305FC9C8-B3BC-4CD0-90CF-0EADC9464149}" destId="{D4E4AA9D-A765-4B0C-BC7A-8487D414E3C0}" srcOrd="0" destOrd="0" presId="urn:microsoft.com/office/officeart/2005/8/layout/orgChart1"/>
    <dgm:cxn modelId="{5F542F2A-8ACD-4DFD-9598-5A942BC92B4F}" type="presParOf" srcId="{305FC9C8-B3BC-4CD0-90CF-0EADC9464149}" destId="{3CAB327A-CCEC-42E4-A679-16DD03998731}" srcOrd="1" destOrd="0" presId="urn:microsoft.com/office/officeart/2005/8/layout/orgChart1"/>
    <dgm:cxn modelId="{A7CE23E4-C95A-488A-9903-CD0CB8C147E4}" type="presParOf" srcId="{82BDEC22-A274-4BB2-9C9E-71AFC89ECABD}" destId="{43803702-ADFA-4DAF-A9A5-347E5EE26B0C}" srcOrd="1" destOrd="0" presId="urn:microsoft.com/office/officeart/2005/8/layout/orgChart1"/>
    <dgm:cxn modelId="{5F53160F-7576-478E-B5A0-16E16CCCBACC}" type="presParOf" srcId="{82BDEC22-A274-4BB2-9C9E-71AFC89ECABD}" destId="{DF9621B9-F171-434E-ACF2-67E7B3C47DFC}" srcOrd="2" destOrd="0" presId="urn:microsoft.com/office/officeart/2005/8/layout/orgChart1"/>
    <dgm:cxn modelId="{1A8819FE-B2EB-46A0-B7E5-EE4E07123C6E}" type="presParOf" srcId="{9C673A67-1BD6-4EFE-AFBF-8F3AFE19BFCA}" destId="{DAB0B051-B552-430A-B822-73D6FA10D4C1}" srcOrd="2" destOrd="0" presId="urn:microsoft.com/office/officeart/2005/8/layout/orgChart1"/>
    <dgm:cxn modelId="{CB7ACD5E-3ED9-4A28-ABE4-C7C8980129FA}" type="presParOf" srcId="{9C673A67-1BD6-4EFE-AFBF-8F3AFE19BFCA}" destId="{C84F3671-1183-4EB7-A0B6-23A8C45DA8CD}" srcOrd="3" destOrd="0" presId="urn:microsoft.com/office/officeart/2005/8/layout/orgChart1"/>
    <dgm:cxn modelId="{F5D5AB6A-1CFD-45BC-BF3A-9F348441AEBF}" type="presParOf" srcId="{C84F3671-1183-4EB7-A0B6-23A8C45DA8CD}" destId="{FADBFB1F-E4F2-458B-B0D2-27862AD745E4}" srcOrd="0" destOrd="0" presId="urn:microsoft.com/office/officeart/2005/8/layout/orgChart1"/>
    <dgm:cxn modelId="{18F06F1C-B8CD-4AF1-92DF-B9E334C330A0}" type="presParOf" srcId="{FADBFB1F-E4F2-458B-B0D2-27862AD745E4}" destId="{E89CE5CB-1149-4EA4-B343-36759791C76C}" srcOrd="0" destOrd="0" presId="urn:microsoft.com/office/officeart/2005/8/layout/orgChart1"/>
    <dgm:cxn modelId="{8B47A17A-27D8-4431-BB95-DBE8D3AE9D8F}" type="presParOf" srcId="{FADBFB1F-E4F2-458B-B0D2-27862AD745E4}" destId="{2FAE06A6-2FBB-44A7-B5B1-5FF4022708E8}" srcOrd="1" destOrd="0" presId="urn:microsoft.com/office/officeart/2005/8/layout/orgChart1"/>
    <dgm:cxn modelId="{A7B22428-35D3-401E-9BAA-8742B7C5BAB5}" type="presParOf" srcId="{C84F3671-1183-4EB7-A0B6-23A8C45DA8CD}" destId="{0D4B91EB-DBAD-454F-ABA5-58E106DF591E}" srcOrd="1" destOrd="0" presId="urn:microsoft.com/office/officeart/2005/8/layout/orgChart1"/>
    <dgm:cxn modelId="{09FFC22C-BAD9-4B60-B2B7-B003804F4C43}" type="presParOf" srcId="{C84F3671-1183-4EB7-A0B6-23A8C45DA8CD}" destId="{348ADB0A-A5D9-47A7-81ED-912EE58E8128}" srcOrd="2" destOrd="0" presId="urn:microsoft.com/office/officeart/2005/8/layout/orgChart1"/>
    <dgm:cxn modelId="{C1A2D348-BF41-403B-8AAC-670F02C18E6B}" type="presParOf" srcId="{11FE6F29-C7A6-43B0-B0D3-9244B17387A7}" destId="{5E2D4BB0-F273-434C-981D-93033943D098}" srcOrd="2" destOrd="0" presId="urn:microsoft.com/office/officeart/2005/8/layout/orgChart1"/>
    <dgm:cxn modelId="{80D3718C-EDCB-4E7B-8AC4-3C5F2531F7BD}" type="presParOf" srcId="{5EBC3769-E0D2-4A02-B4A4-21CCFEAE7CFE}" destId="{E7E01BF0-2924-47C8-806D-689B743DE211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ACBF8E0-E1F7-4D90-AD01-D6884A2CBFB7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6940513C-937D-4F09-9B3D-17D75A42D37D}">
      <dgm:prSet phldrT="[Текст]" custT="1"/>
      <dgm:spPr/>
      <dgm:t>
        <a:bodyPr/>
        <a:lstStyle/>
        <a:p>
          <a:r>
            <a:rPr lang="ru-RU" sz="11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Федеральный проект  </a:t>
          </a:r>
        </a:p>
        <a:p>
          <a:r>
            <a:rPr lang="ru-RU" sz="11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"Улучшение условий ведения</a:t>
          </a:r>
        </a:p>
        <a:p>
          <a:r>
            <a:rPr lang="ru-RU" sz="11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предпринимательской деятельности"</a:t>
          </a:r>
        </a:p>
      </dgm:t>
    </dgm:pt>
    <dgm:pt modelId="{B72942E9-DAC5-47DB-83D7-519F98CA82FF}" type="parTrans" cxnId="{7461272A-7E9B-4726-B74D-959345B4AB49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C6C50519-BFB2-41F8-818E-31E91D8A539A}" type="sibTrans" cxnId="{7461272A-7E9B-4726-B74D-959345B4AB49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E9B19076-A07F-4FAC-80B5-E3E36098D567}">
      <dgm:prSet phldrT="[Текст]" custT="1"/>
      <dgm:spPr/>
      <dgm:t>
        <a:bodyPr/>
        <a:lstStyle/>
        <a:p>
          <a:r>
            <a:rPr lang="ru-RU" sz="800" b="1" dirty="0">
              <a:latin typeface="Arial" pitchFamily="34" charset="0"/>
              <a:cs typeface="Arial" pitchFamily="34" charset="0"/>
            </a:rPr>
            <a:t>Задача 2</a:t>
          </a:r>
          <a:r>
            <a:rPr lang="ru-RU" sz="800" dirty="0">
              <a:latin typeface="Arial" pitchFamily="34" charset="0"/>
              <a:cs typeface="Arial" pitchFamily="34" charset="0"/>
            </a:rPr>
            <a:t>. </a:t>
          </a:r>
        </a:p>
        <a:p>
          <a:r>
            <a:rPr lang="ru-RU" sz="800" b="1" dirty="0">
              <a:latin typeface="Arial" pitchFamily="34" charset="0"/>
              <a:cs typeface="Arial" pitchFamily="34" charset="0"/>
            </a:rPr>
            <a:t>Обеспечение благоприятных условий осуществления деятельности </a:t>
          </a:r>
          <a:r>
            <a:rPr lang="ru-RU" sz="800" b="1" dirty="0" err="1">
              <a:latin typeface="Arial" pitchFamily="34" charset="0"/>
              <a:cs typeface="Arial" pitchFamily="34" charset="0"/>
            </a:rPr>
            <a:t>самозанятыми</a:t>
          </a:r>
          <a:r>
            <a:rPr lang="ru-RU" sz="800" b="1" dirty="0">
              <a:latin typeface="Arial" pitchFamily="34" charset="0"/>
              <a:cs typeface="Arial" pitchFamily="34" charset="0"/>
            </a:rPr>
            <a:t> гражданами </a:t>
          </a:r>
          <a:r>
            <a:rPr lang="ru-RU" sz="800" dirty="0">
              <a:latin typeface="Arial" pitchFamily="34" charset="0"/>
              <a:cs typeface="Arial" pitchFamily="34" charset="0"/>
            </a:rPr>
            <a:t>посредством  создания нового режима налогообложения, предусматривающего  передачу </a:t>
          </a:r>
          <a:r>
            <a:rPr lang="ru-RU" sz="800" dirty="0" smtClean="0">
              <a:latin typeface="Arial" pitchFamily="34" charset="0"/>
              <a:cs typeface="Arial" pitchFamily="34" charset="0"/>
            </a:rPr>
            <a:t>информации   </a:t>
          </a:r>
          <a:r>
            <a:rPr lang="ru-RU" sz="800" dirty="0">
              <a:latin typeface="Arial" pitchFamily="34" charset="0"/>
              <a:cs typeface="Arial" pitchFamily="34" charset="0"/>
            </a:rPr>
            <a:t>о продажах в налоговые органы РФ в автоматическом режиме, освобождение от обязанности представлять отчетность, а </a:t>
          </a:r>
          <a:r>
            <a:rPr lang="ru-RU" sz="800" dirty="0" smtClean="0">
              <a:latin typeface="Arial" pitchFamily="34" charset="0"/>
              <a:cs typeface="Arial" pitchFamily="34" charset="0"/>
            </a:rPr>
            <a:t>        также </a:t>
          </a:r>
          <a:r>
            <a:rPr lang="ru-RU" sz="800" dirty="0">
              <a:latin typeface="Arial" pitchFamily="34" charset="0"/>
              <a:cs typeface="Arial" pitchFamily="34" charset="0"/>
            </a:rPr>
            <a:t>уплату единого платежа с выручки, включающего в себя страховые </a:t>
          </a:r>
        </a:p>
      </dgm:t>
    </dgm:pt>
    <dgm:pt modelId="{07D325E9-5921-4831-B97E-ADDC7370B3CC}" type="parTrans" cxnId="{E9827BCC-F707-42E6-AB29-EC3C03E84ACB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E81E633F-E89D-4C74-BD0C-DABBFFD22286}" type="sibTrans" cxnId="{E9827BCC-F707-42E6-AB29-EC3C03E84ACB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3203FE89-36F8-4B47-9940-80C0A33696EC}">
      <dgm:prSet custT="1"/>
      <dgm:spPr/>
      <dgm:t>
        <a:bodyPr/>
        <a:lstStyle/>
        <a:p>
          <a:r>
            <a:rPr lang="ru-RU" sz="800" b="1" dirty="0" smtClean="0">
              <a:latin typeface="Arial" pitchFamily="34" charset="0"/>
              <a:cs typeface="Arial" pitchFamily="34" charset="0"/>
            </a:rPr>
            <a:t>Задача </a:t>
          </a:r>
          <a:r>
            <a:rPr lang="ru-RU" sz="800" b="1" dirty="0">
              <a:latin typeface="Arial" pitchFamily="34" charset="0"/>
              <a:cs typeface="Arial" pitchFamily="34" charset="0"/>
            </a:rPr>
            <a:t>1.</a:t>
          </a:r>
          <a:endParaRPr lang="ru-RU" sz="800" dirty="0">
            <a:latin typeface="Arial" pitchFamily="34" charset="0"/>
            <a:cs typeface="Arial" pitchFamily="34" charset="0"/>
          </a:endParaRPr>
        </a:p>
        <a:p>
          <a:r>
            <a:rPr lang="ru-RU" sz="800" dirty="0">
              <a:latin typeface="Arial" pitchFamily="34" charset="0"/>
              <a:cs typeface="Arial" pitchFamily="34" charset="0"/>
            </a:rPr>
            <a:t>Улучшение условий ведения предпринимательской деятельности, включая упрощение налоговой отчетности для предпринимателей, применяющих контрольно-кассовую технику</a:t>
          </a:r>
        </a:p>
      </dgm:t>
    </dgm:pt>
    <dgm:pt modelId="{E1B2A0ED-0FDB-43E5-8195-10AB4AFC5C11}" type="parTrans" cxnId="{777EED12-1EB8-42B1-BFA0-7E39AB6050BD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10221D66-129A-40AF-BCFE-94EDE06848D8}" type="sibTrans" cxnId="{777EED12-1EB8-42B1-BFA0-7E39AB6050BD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B36DC1DE-1316-4935-9039-713092BB609E}" type="pres">
      <dgm:prSet presAssocID="{FACBF8E0-E1F7-4D90-AD01-D6884A2CBFB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79F5C1DB-B99F-4A6F-9CB7-18E0FA638EA2}" type="pres">
      <dgm:prSet presAssocID="{6940513C-937D-4F09-9B3D-17D75A42D37D}" presName="hierRoot1" presStyleCnt="0">
        <dgm:presLayoutVars>
          <dgm:hierBranch val="init"/>
        </dgm:presLayoutVars>
      </dgm:prSet>
      <dgm:spPr/>
    </dgm:pt>
    <dgm:pt modelId="{5B84B7CE-4FB1-4DB0-B8BE-B365D04E4577}" type="pres">
      <dgm:prSet presAssocID="{6940513C-937D-4F09-9B3D-17D75A42D37D}" presName="rootComposite1" presStyleCnt="0"/>
      <dgm:spPr/>
    </dgm:pt>
    <dgm:pt modelId="{12C30914-20E3-4E4D-B41B-71C0270A9498}" type="pres">
      <dgm:prSet presAssocID="{6940513C-937D-4F09-9B3D-17D75A42D37D}" presName="rootText1" presStyleLbl="node0" presStyleIdx="0" presStyleCnt="1" custScaleX="327538" custScaleY="13774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700F27F-0ED8-4F3B-84FE-13AD6829685F}" type="pres">
      <dgm:prSet presAssocID="{6940513C-937D-4F09-9B3D-17D75A42D37D}" presName="rootConnector1" presStyleLbl="node1" presStyleIdx="0" presStyleCnt="0"/>
      <dgm:spPr/>
      <dgm:t>
        <a:bodyPr/>
        <a:lstStyle/>
        <a:p>
          <a:endParaRPr lang="ru-RU"/>
        </a:p>
      </dgm:t>
    </dgm:pt>
    <dgm:pt modelId="{9C4065C8-E1D3-4B30-97C7-08F8389369EB}" type="pres">
      <dgm:prSet presAssocID="{6940513C-937D-4F09-9B3D-17D75A42D37D}" presName="hierChild2" presStyleCnt="0"/>
      <dgm:spPr/>
    </dgm:pt>
    <dgm:pt modelId="{5BF8C03E-E3EF-49AE-BD50-AFBB4DEE62C3}" type="pres">
      <dgm:prSet presAssocID="{E1B2A0ED-0FDB-43E5-8195-10AB4AFC5C11}" presName="Name37" presStyleLbl="parChTrans1D2" presStyleIdx="0" presStyleCnt="2"/>
      <dgm:spPr/>
      <dgm:t>
        <a:bodyPr/>
        <a:lstStyle/>
        <a:p>
          <a:endParaRPr lang="ru-RU"/>
        </a:p>
      </dgm:t>
    </dgm:pt>
    <dgm:pt modelId="{E64656CD-E639-401A-B998-D67EE59A9989}" type="pres">
      <dgm:prSet presAssocID="{3203FE89-36F8-4B47-9940-80C0A33696EC}" presName="hierRoot2" presStyleCnt="0">
        <dgm:presLayoutVars>
          <dgm:hierBranch val="r"/>
        </dgm:presLayoutVars>
      </dgm:prSet>
      <dgm:spPr/>
    </dgm:pt>
    <dgm:pt modelId="{AD4AC627-1EB5-442D-A0CD-6DA4C74637AC}" type="pres">
      <dgm:prSet presAssocID="{3203FE89-36F8-4B47-9940-80C0A33696EC}" presName="rootComposite" presStyleCnt="0"/>
      <dgm:spPr/>
    </dgm:pt>
    <dgm:pt modelId="{0F8C0C89-9E1B-4E2A-8667-77F13C44910D}" type="pres">
      <dgm:prSet presAssocID="{3203FE89-36F8-4B47-9940-80C0A33696EC}" presName="rootText" presStyleLbl="node2" presStyleIdx="0" presStyleCnt="2" custScaleX="125871" custScaleY="244952" custLinFactNeighborX="6248" custLinFactNeighborY="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FB2BBF5-30F3-49EB-BC17-EC5836B1980B}" type="pres">
      <dgm:prSet presAssocID="{3203FE89-36F8-4B47-9940-80C0A33696EC}" presName="rootConnector" presStyleLbl="node2" presStyleIdx="0" presStyleCnt="2"/>
      <dgm:spPr/>
      <dgm:t>
        <a:bodyPr/>
        <a:lstStyle/>
        <a:p>
          <a:endParaRPr lang="ru-RU"/>
        </a:p>
      </dgm:t>
    </dgm:pt>
    <dgm:pt modelId="{8235C40A-92A8-4EB7-8C1A-4E0CBCD7F985}" type="pres">
      <dgm:prSet presAssocID="{3203FE89-36F8-4B47-9940-80C0A33696EC}" presName="hierChild4" presStyleCnt="0"/>
      <dgm:spPr/>
    </dgm:pt>
    <dgm:pt modelId="{16C3BE7A-15F5-42F7-AA1F-D2405D25F3F7}" type="pres">
      <dgm:prSet presAssocID="{3203FE89-36F8-4B47-9940-80C0A33696EC}" presName="hierChild5" presStyleCnt="0"/>
      <dgm:spPr/>
    </dgm:pt>
    <dgm:pt modelId="{EBBF6F71-FC75-4B12-89B3-0AFF445C628B}" type="pres">
      <dgm:prSet presAssocID="{07D325E9-5921-4831-B97E-ADDC7370B3CC}" presName="Name37" presStyleLbl="parChTrans1D2" presStyleIdx="1" presStyleCnt="2"/>
      <dgm:spPr/>
      <dgm:t>
        <a:bodyPr/>
        <a:lstStyle/>
        <a:p>
          <a:endParaRPr lang="ru-RU"/>
        </a:p>
      </dgm:t>
    </dgm:pt>
    <dgm:pt modelId="{770C4189-EFD6-4B45-A05D-AA1BEEB447AC}" type="pres">
      <dgm:prSet presAssocID="{E9B19076-A07F-4FAC-80B5-E3E36098D567}" presName="hierRoot2" presStyleCnt="0">
        <dgm:presLayoutVars>
          <dgm:hierBranch val="r"/>
        </dgm:presLayoutVars>
      </dgm:prSet>
      <dgm:spPr/>
    </dgm:pt>
    <dgm:pt modelId="{9005C50D-2EF8-4218-92B9-B48BA55CA4BE}" type="pres">
      <dgm:prSet presAssocID="{E9B19076-A07F-4FAC-80B5-E3E36098D567}" presName="rootComposite" presStyleCnt="0"/>
      <dgm:spPr/>
    </dgm:pt>
    <dgm:pt modelId="{834C9AA0-5CE9-4253-9A9E-CF2B65B4B406}" type="pres">
      <dgm:prSet presAssocID="{E9B19076-A07F-4FAC-80B5-E3E36098D567}" presName="rootText" presStyleLbl="node2" presStyleIdx="1" presStyleCnt="2" custScaleX="215731" custScaleY="245901" custLinFactNeighborX="-60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87EEC9F-4ACF-4289-A94F-AC04F1D203A8}" type="pres">
      <dgm:prSet presAssocID="{E9B19076-A07F-4FAC-80B5-E3E36098D567}" presName="rootConnector" presStyleLbl="node2" presStyleIdx="1" presStyleCnt="2"/>
      <dgm:spPr/>
      <dgm:t>
        <a:bodyPr/>
        <a:lstStyle/>
        <a:p>
          <a:endParaRPr lang="ru-RU"/>
        </a:p>
      </dgm:t>
    </dgm:pt>
    <dgm:pt modelId="{0E52A5B1-9CC3-4055-BBC0-1ACAA22C60B9}" type="pres">
      <dgm:prSet presAssocID="{E9B19076-A07F-4FAC-80B5-E3E36098D567}" presName="hierChild4" presStyleCnt="0"/>
      <dgm:spPr/>
    </dgm:pt>
    <dgm:pt modelId="{397CC95D-03D6-4713-9DBB-428DF0795465}" type="pres">
      <dgm:prSet presAssocID="{E9B19076-A07F-4FAC-80B5-E3E36098D567}" presName="hierChild5" presStyleCnt="0"/>
      <dgm:spPr/>
    </dgm:pt>
    <dgm:pt modelId="{CFB3F830-422B-462B-88A3-B3A3971875E4}" type="pres">
      <dgm:prSet presAssocID="{6940513C-937D-4F09-9B3D-17D75A42D37D}" presName="hierChild3" presStyleCnt="0"/>
      <dgm:spPr/>
    </dgm:pt>
  </dgm:ptLst>
  <dgm:cxnLst>
    <dgm:cxn modelId="{4F4A134C-9D9E-4E9A-9331-365563D8DB07}" type="presOf" srcId="{3203FE89-36F8-4B47-9940-80C0A33696EC}" destId="{DFB2BBF5-30F3-49EB-BC17-EC5836B1980B}" srcOrd="1" destOrd="0" presId="urn:microsoft.com/office/officeart/2005/8/layout/orgChart1"/>
    <dgm:cxn modelId="{2796FDE7-CD90-45F7-8482-A46CDB44A1F5}" type="presOf" srcId="{E9B19076-A07F-4FAC-80B5-E3E36098D567}" destId="{A87EEC9F-4ACF-4289-A94F-AC04F1D203A8}" srcOrd="1" destOrd="0" presId="urn:microsoft.com/office/officeart/2005/8/layout/orgChart1"/>
    <dgm:cxn modelId="{2735C19C-1EEF-4A92-9B2E-416BC8EFEAE0}" type="presOf" srcId="{E1B2A0ED-0FDB-43E5-8195-10AB4AFC5C11}" destId="{5BF8C03E-E3EF-49AE-BD50-AFBB4DEE62C3}" srcOrd="0" destOrd="0" presId="urn:microsoft.com/office/officeart/2005/8/layout/orgChart1"/>
    <dgm:cxn modelId="{7461272A-7E9B-4726-B74D-959345B4AB49}" srcId="{FACBF8E0-E1F7-4D90-AD01-D6884A2CBFB7}" destId="{6940513C-937D-4F09-9B3D-17D75A42D37D}" srcOrd="0" destOrd="0" parTransId="{B72942E9-DAC5-47DB-83D7-519F98CA82FF}" sibTransId="{C6C50519-BFB2-41F8-818E-31E91D8A539A}"/>
    <dgm:cxn modelId="{9C8C6917-CD09-4F3A-92C2-10F102A95614}" type="presOf" srcId="{6940513C-937D-4F09-9B3D-17D75A42D37D}" destId="{12C30914-20E3-4E4D-B41B-71C0270A9498}" srcOrd="0" destOrd="0" presId="urn:microsoft.com/office/officeart/2005/8/layout/orgChart1"/>
    <dgm:cxn modelId="{C2841A74-7352-4F26-BA83-9EA0F5AA22EB}" type="presOf" srcId="{3203FE89-36F8-4B47-9940-80C0A33696EC}" destId="{0F8C0C89-9E1B-4E2A-8667-77F13C44910D}" srcOrd="0" destOrd="0" presId="urn:microsoft.com/office/officeart/2005/8/layout/orgChart1"/>
    <dgm:cxn modelId="{3A442ADD-C1D9-44C2-8C03-88DDF928B080}" type="presOf" srcId="{FACBF8E0-E1F7-4D90-AD01-D6884A2CBFB7}" destId="{B36DC1DE-1316-4935-9039-713092BB609E}" srcOrd="0" destOrd="0" presId="urn:microsoft.com/office/officeart/2005/8/layout/orgChart1"/>
    <dgm:cxn modelId="{D1E36864-9B1F-4EF8-9788-AE1D3ED83A0A}" type="presOf" srcId="{6940513C-937D-4F09-9B3D-17D75A42D37D}" destId="{4700F27F-0ED8-4F3B-84FE-13AD6829685F}" srcOrd="1" destOrd="0" presId="urn:microsoft.com/office/officeart/2005/8/layout/orgChart1"/>
    <dgm:cxn modelId="{E9827BCC-F707-42E6-AB29-EC3C03E84ACB}" srcId="{6940513C-937D-4F09-9B3D-17D75A42D37D}" destId="{E9B19076-A07F-4FAC-80B5-E3E36098D567}" srcOrd="1" destOrd="0" parTransId="{07D325E9-5921-4831-B97E-ADDC7370B3CC}" sibTransId="{E81E633F-E89D-4C74-BD0C-DABBFFD22286}"/>
    <dgm:cxn modelId="{5A0BE3B4-4128-4C2A-A5A1-B2704ED0EEF2}" type="presOf" srcId="{E9B19076-A07F-4FAC-80B5-E3E36098D567}" destId="{834C9AA0-5CE9-4253-9A9E-CF2B65B4B406}" srcOrd="0" destOrd="0" presId="urn:microsoft.com/office/officeart/2005/8/layout/orgChart1"/>
    <dgm:cxn modelId="{777EED12-1EB8-42B1-BFA0-7E39AB6050BD}" srcId="{6940513C-937D-4F09-9B3D-17D75A42D37D}" destId="{3203FE89-36F8-4B47-9940-80C0A33696EC}" srcOrd="0" destOrd="0" parTransId="{E1B2A0ED-0FDB-43E5-8195-10AB4AFC5C11}" sibTransId="{10221D66-129A-40AF-BCFE-94EDE06848D8}"/>
    <dgm:cxn modelId="{03F53A13-451D-4A44-8BE2-2042C5F9B235}" type="presOf" srcId="{07D325E9-5921-4831-B97E-ADDC7370B3CC}" destId="{EBBF6F71-FC75-4B12-89B3-0AFF445C628B}" srcOrd="0" destOrd="0" presId="urn:microsoft.com/office/officeart/2005/8/layout/orgChart1"/>
    <dgm:cxn modelId="{AC8D4D66-B037-4039-93EF-2E39AF788C23}" type="presParOf" srcId="{B36DC1DE-1316-4935-9039-713092BB609E}" destId="{79F5C1DB-B99F-4A6F-9CB7-18E0FA638EA2}" srcOrd="0" destOrd="0" presId="urn:microsoft.com/office/officeart/2005/8/layout/orgChart1"/>
    <dgm:cxn modelId="{6CCB263F-030F-413C-B663-52DB76D178EE}" type="presParOf" srcId="{79F5C1DB-B99F-4A6F-9CB7-18E0FA638EA2}" destId="{5B84B7CE-4FB1-4DB0-B8BE-B365D04E4577}" srcOrd="0" destOrd="0" presId="urn:microsoft.com/office/officeart/2005/8/layout/orgChart1"/>
    <dgm:cxn modelId="{47E71454-4054-4D81-952C-F1CD8B459B17}" type="presParOf" srcId="{5B84B7CE-4FB1-4DB0-B8BE-B365D04E4577}" destId="{12C30914-20E3-4E4D-B41B-71C0270A9498}" srcOrd="0" destOrd="0" presId="urn:microsoft.com/office/officeart/2005/8/layout/orgChart1"/>
    <dgm:cxn modelId="{0BA2A5FA-FE96-470B-A6C1-9000D35837D5}" type="presParOf" srcId="{5B84B7CE-4FB1-4DB0-B8BE-B365D04E4577}" destId="{4700F27F-0ED8-4F3B-84FE-13AD6829685F}" srcOrd="1" destOrd="0" presId="urn:microsoft.com/office/officeart/2005/8/layout/orgChart1"/>
    <dgm:cxn modelId="{2F87D191-17E9-44CF-84B4-E5A6AFD61CD2}" type="presParOf" srcId="{79F5C1DB-B99F-4A6F-9CB7-18E0FA638EA2}" destId="{9C4065C8-E1D3-4B30-97C7-08F8389369EB}" srcOrd="1" destOrd="0" presId="urn:microsoft.com/office/officeart/2005/8/layout/orgChart1"/>
    <dgm:cxn modelId="{6B091A0F-41F1-455E-B3CC-ADC4F7DC968F}" type="presParOf" srcId="{9C4065C8-E1D3-4B30-97C7-08F8389369EB}" destId="{5BF8C03E-E3EF-49AE-BD50-AFBB4DEE62C3}" srcOrd="0" destOrd="0" presId="urn:microsoft.com/office/officeart/2005/8/layout/orgChart1"/>
    <dgm:cxn modelId="{D333DAA9-1B2E-473A-9FAB-D7FDFA6EE13D}" type="presParOf" srcId="{9C4065C8-E1D3-4B30-97C7-08F8389369EB}" destId="{E64656CD-E639-401A-B998-D67EE59A9989}" srcOrd="1" destOrd="0" presId="urn:microsoft.com/office/officeart/2005/8/layout/orgChart1"/>
    <dgm:cxn modelId="{8375C4DD-E228-4988-8750-D56C22EA413B}" type="presParOf" srcId="{E64656CD-E639-401A-B998-D67EE59A9989}" destId="{AD4AC627-1EB5-442D-A0CD-6DA4C74637AC}" srcOrd="0" destOrd="0" presId="urn:microsoft.com/office/officeart/2005/8/layout/orgChart1"/>
    <dgm:cxn modelId="{59D52C20-2A88-4570-8012-BC893BE29EFC}" type="presParOf" srcId="{AD4AC627-1EB5-442D-A0CD-6DA4C74637AC}" destId="{0F8C0C89-9E1B-4E2A-8667-77F13C44910D}" srcOrd="0" destOrd="0" presId="urn:microsoft.com/office/officeart/2005/8/layout/orgChart1"/>
    <dgm:cxn modelId="{1FCD65A6-E335-487E-BB19-381F54F374B4}" type="presParOf" srcId="{AD4AC627-1EB5-442D-A0CD-6DA4C74637AC}" destId="{DFB2BBF5-30F3-49EB-BC17-EC5836B1980B}" srcOrd="1" destOrd="0" presId="urn:microsoft.com/office/officeart/2005/8/layout/orgChart1"/>
    <dgm:cxn modelId="{C1204AD1-8C8D-4002-897F-A34C8EE36491}" type="presParOf" srcId="{E64656CD-E639-401A-B998-D67EE59A9989}" destId="{8235C40A-92A8-4EB7-8C1A-4E0CBCD7F985}" srcOrd="1" destOrd="0" presId="urn:microsoft.com/office/officeart/2005/8/layout/orgChart1"/>
    <dgm:cxn modelId="{93B2C488-286D-4FCA-A8B2-6A686C8CC97F}" type="presParOf" srcId="{E64656CD-E639-401A-B998-D67EE59A9989}" destId="{16C3BE7A-15F5-42F7-AA1F-D2405D25F3F7}" srcOrd="2" destOrd="0" presId="urn:microsoft.com/office/officeart/2005/8/layout/orgChart1"/>
    <dgm:cxn modelId="{6C4FD762-47F5-4799-8245-E3103005DDDD}" type="presParOf" srcId="{9C4065C8-E1D3-4B30-97C7-08F8389369EB}" destId="{EBBF6F71-FC75-4B12-89B3-0AFF445C628B}" srcOrd="2" destOrd="0" presId="urn:microsoft.com/office/officeart/2005/8/layout/orgChart1"/>
    <dgm:cxn modelId="{9B89C58B-F236-4C85-A47F-EBE96CB5800B}" type="presParOf" srcId="{9C4065C8-E1D3-4B30-97C7-08F8389369EB}" destId="{770C4189-EFD6-4B45-A05D-AA1BEEB447AC}" srcOrd="3" destOrd="0" presId="urn:microsoft.com/office/officeart/2005/8/layout/orgChart1"/>
    <dgm:cxn modelId="{8F36B97E-BE56-4F5A-965A-13C936681AAC}" type="presParOf" srcId="{770C4189-EFD6-4B45-A05D-AA1BEEB447AC}" destId="{9005C50D-2EF8-4218-92B9-B48BA55CA4BE}" srcOrd="0" destOrd="0" presId="urn:microsoft.com/office/officeart/2005/8/layout/orgChart1"/>
    <dgm:cxn modelId="{DF6CD7D5-B514-48DD-972E-DB31497A66A8}" type="presParOf" srcId="{9005C50D-2EF8-4218-92B9-B48BA55CA4BE}" destId="{834C9AA0-5CE9-4253-9A9E-CF2B65B4B406}" srcOrd="0" destOrd="0" presId="urn:microsoft.com/office/officeart/2005/8/layout/orgChart1"/>
    <dgm:cxn modelId="{21578FB6-84BB-4DA7-9335-8E814D0E856E}" type="presParOf" srcId="{9005C50D-2EF8-4218-92B9-B48BA55CA4BE}" destId="{A87EEC9F-4ACF-4289-A94F-AC04F1D203A8}" srcOrd="1" destOrd="0" presId="urn:microsoft.com/office/officeart/2005/8/layout/orgChart1"/>
    <dgm:cxn modelId="{EBE88752-A9E3-4410-910E-CA60B1B292CD}" type="presParOf" srcId="{770C4189-EFD6-4B45-A05D-AA1BEEB447AC}" destId="{0E52A5B1-9CC3-4055-BBC0-1ACAA22C60B9}" srcOrd="1" destOrd="0" presId="urn:microsoft.com/office/officeart/2005/8/layout/orgChart1"/>
    <dgm:cxn modelId="{564C2F01-8097-48F7-BF89-FA02F2FD775F}" type="presParOf" srcId="{770C4189-EFD6-4B45-A05D-AA1BEEB447AC}" destId="{397CC95D-03D6-4713-9DBB-428DF0795465}" srcOrd="2" destOrd="0" presId="urn:microsoft.com/office/officeart/2005/8/layout/orgChart1"/>
    <dgm:cxn modelId="{3B358113-BBA6-40A2-AD94-34A28A78659A}" type="presParOf" srcId="{79F5C1DB-B99F-4A6F-9CB7-18E0FA638EA2}" destId="{CFB3F830-422B-462B-88A3-B3A3971875E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FACBF8E0-E1F7-4D90-AD01-D6884A2CBFB7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6940513C-937D-4F09-9B3D-17D75A42D37D}">
      <dgm:prSet phldrT="[Текст]" custT="1"/>
      <dgm:spPr/>
      <dgm:t>
        <a:bodyPr/>
        <a:lstStyle/>
        <a:p>
          <a:r>
            <a:rPr lang="ru-RU" sz="12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Федеральный проект  </a:t>
          </a:r>
        </a:p>
        <a:p>
          <a:r>
            <a:rPr lang="ru-RU" sz="12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«Популяризация </a:t>
          </a:r>
          <a:endParaRPr lang="ru-RU" sz="1200" b="1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r>
            <a:rPr lang="ru-RU" sz="12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Предпринимательства»</a:t>
          </a:r>
          <a:endParaRPr lang="ru-RU" sz="1200" b="1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</dgm:t>
    </dgm:pt>
    <dgm:pt modelId="{B72942E9-DAC5-47DB-83D7-519F98CA82FF}" type="parTrans" cxnId="{7461272A-7E9B-4726-B74D-959345B4AB49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C6C50519-BFB2-41F8-818E-31E91D8A539A}" type="sibTrans" cxnId="{7461272A-7E9B-4726-B74D-959345B4AB49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E9B19076-A07F-4FAC-80B5-E3E36098D567}">
      <dgm:prSet phldrT="[Текст]" custT="1"/>
      <dgm:spPr/>
      <dgm:t>
        <a:bodyPr/>
        <a:lstStyle/>
        <a:p>
          <a:r>
            <a:rPr lang="ru-RU" sz="1000" b="1" dirty="0">
              <a:latin typeface="Arial" pitchFamily="34" charset="0"/>
              <a:cs typeface="Arial" pitchFamily="34" charset="0"/>
            </a:rPr>
            <a:t>Задача </a:t>
          </a:r>
          <a:r>
            <a:rPr lang="ru-RU" sz="1000" b="1" dirty="0" smtClean="0">
              <a:latin typeface="Arial" pitchFamily="34" charset="0"/>
              <a:cs typeface="Arial" pitchFamily="34" charset="0"/>
            </a:rPr>
            <a:t>2.</a:t>
          </a:r>
        </a:p>
        <a:p>
          <a:r>
            <a:rPr lang="ru-RU" sz="1050" dirty="0" smtClean="0">
              <a:latin typeface="Arial" pitchFamily="34" charset="0"/>
              <a:cs typeface="Arial" pitchFamily="34" charset="0"/>
            </a:rPr>
            <a:t> Выявление предпринимательских способностей и вовлечение в предпринимательскую      деятельность лиц, имеющих предпринимательский потенциал                     и (или) мотивацию                                 к созданию собственного бизнеса</a:t>
          </a:r>
          <a:r>
            <a:rPr lang="ru-RU" sz="800" dirty="0" smtClean="0">
              <a:latin typeface="Arial" pitchFamily="34" charset="0"/>
              <a:cs typeface="Arial" pitchFamily="34" charset="0"/>
            </a:rPr>
            <a:t>.</a:t>
          </a:r>
          <a:r>
            <a:rPr lang="ru-RU" sz="800" b="1" dirty="0" smtClean="0">
              <a:latin typeface="Arial" pitchFamily="34" charset="0"/>
              <a:cs typeface="Arial" pitchFamily="34" charset="0"/>
            </a:rPr>
            <a:t> </a:t>
          </a:r>
          <a:endParaRPr lang="ru-RU" sz="800" dirty="0">
            <a:latin typeface="Arial" pitchFamily="34" charset="0"/>
            <a:cs typeface="Arial" pitchFamily="34" charset="0"/>
          </a:endParaRPr>
        </a:p>
      </dgm:t>
    </dgm:pt>
    <dgm:pt modelId="{07D325E9-5921-4831-B97E-ADDC7370B3CC}" type="parTrans" cxnId="{E9827BCC-F707-42E6-AB29-EC3C03E84ACB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E81E633F-E89D-4C74-BD0C-DABBFFD22286}" type="sibTrans" cxnId="{E9827BCC-F707-42E6-AB29-EC3C03E84ACB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3203FE89-36F8-4B47-9940-80C0A33696EC}">
      <dgm:prSet custT="1"/>
      <dgm:spPr/>
      <dgm:t>
        <a:bodyPr/>
        <a:lstStyle/>
        <a:p>
          <a:r>
            <a:rPr lang="ru-RU" sz="1000" b="1" dirty="0" smtClean="0">
              <a:latin typeface="Arial" pitchFamily="34" charset="0"/>
              <a:cs typeface="Arial" pitchFamily="34" charset="0"/>
            </a:rPr>
            <a:t>Задача </a:t>
          </a:r>
          <a:r>
            <a:rPr lang="ru-RU" sz="1000" b="1" dirty="0">
              <a:latin typeface="Arial" pitchFamily="34" charset="0"/>
              <a:cs typeface="Arial" pitchFamily="34" charset="0"/>
            </a:rPr>
            <a:t>1</a:t>
          </a:r>
          <a:r>
            <a:rPr lang="ru-RU" sz="800" b="1" dirty="0">
              <a:latin typeface="Arial" pitchFamily="34" charset="0"/>
              <a:cs typeface="Arial" pitchFamily="34" charset="0"/>
            </a:rPr>
            <a:t>.</a:t>
          </a:r>
          <a:endParaRPr lang="ru-RU" sz="800" dirty="0">
            <a:latin typeface="Arial" pitchFamily="34" charset="0"/>
            <a:cs typeface="Arial" pitchFamily="34" charset="0"/>
          </a:endParaRPr>
        </a:p>
        <a:p>
          <a:r>
            <a:rPr lang="ru-RU" sz="1000" dirty="0" smtClean="0">
              <a:latin typeface="Arial" pitchFamily="34" charset="0"/>
              <a:cs typeface="Arial" pitchFamily="34" charset="0"/>
            </a:rPr>
            <a:t>Формирование положительного образа предпринимателя</a:t>
          </a:r>
          <a:endParaRPr lang="ru-RU" sz="1000" dirty="0">
            <a:latin typeface="Arial" pitchFamily="34" charset="0"/>
            <a:cs typeface="Arial" pitchFamily="34" charset="0"/>
          </a:endParaRPr>
        </a:p>
      </dgm:t>
    </dgm:pt>
    <dgm:pt modelId="{E1B2A0ED-0FDB-43E5-8195-10AB4AFC5C11}" type="parTrans" cxnId="{777EED12-1EB8-42B1-BFA0-7E39AB6050BD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10221D66-129A-40AF-BCFE-94EDE06848D8}" type="sibTrans" cxnId="{777EED12-1EB8-42B1-BFA0-7E39AB6050BD}">
      <dgm:prSet/>
      <dgm:spPr/>
      <dgm:t>
        <a:bodyPr/>
        <a:lstStyle/>
        <a:p>
          <a:endParaRPr lang="ru-RU" sz="1200">
            <a:latin typeface="Arial" pitchFamily="34" charset="0"/>
            <a:cs typeface="Arial" pitchFamily="34" charset="0"/>
          </a:endParaRPr>
        </a:p>
      </dgm:t>
    </dgm:pt>
    <dgm:pt modelId="{B36DC1DE-1316-4935-9039-713092BB609E}" type="pres">
      <dgm:prSet presAssocID="{FACBF8E0-E1F7-4D90-AD01-D6884A2CBFB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79F5C1DB-B99F-4A6F-9CB7-18E0FA638EA2}" type="pres">
      <dgm:prSet presAssocID="{6940513C-937D-4F09-9B3D-17D75A42D37D}" presName="hierRoot1" presStyleCnt="0">
        <dgm:presLayoutVars>
          <dgm:hierBranch val="init"/>
        </dgm:presLayoutVars>
      </dgm:prSet>
      <dgm:spPr/>
    </dgm:pt>
    <dgm:pt modelId="{5B84B7CE-4FB1-4DB0-B8BE-B365D04E4577}" type="pres">
      <dgm:prSet presAssocID="{6940513C-937D-4F09-9B3D-17D75A42D37D}" presName="rootComposite1" presStyleCnt="0"/>
      <dgm:spPr/>
    </dgm:pt>
    <dgm:pt modelId="{12C30914-20E3-4E4D-B41B-71C0270A9498}" type="pres">
      <dgm:prSet presAssocID="{6940513C-937D-4F09-9B3D-17D75A42D37D}" presName="rootText1" presStyleLbl="node0" presStyleIdx="0" presStyleCnt="1" custScaleX="327538" custScaleY="13774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700F27F-0ED8-4F3B-84FE-13AD6829685F}" type="pres">
      <dgm:prSet presAssocID="{6940513C-937D-4F09-9B3D-17D75A42D37D}" presName="rootConnector1" presStyleLbl="node1" presStyleIdx="0" presStyleCnt="0"/>
      <dgm:spPr/>
      <dgm:t>
        <a:bodyPr/>
        <a:lstStyle/>
        <a:p>
          <a:endParaRPr lang="ru-RU"/>
        </a:p>
      </dgm:t>
    </dgm:pt>
    <dgm:pt modelId="{9C4065C8-E1D3-4B30-97C7-08F8389369EB}" type="pres">
      <dgm:prSet presAssocID="{6940513C-937D-4F09-9B3D-17D75A42D37D}" presName="hierChild2" presStyleCnt="0"/>
      <dgm:spPr/>
    </dgm:pt>
    <dgm:pt modelId="{5BF8C03E-E3EF-49AE-BD50-AFBB4DEE62C3}" type="pres">
      <dgm:prSet presAssocID="{E1B2A0ED-0FDB-43E5-8195-10AB4AFC5C11}" presName="Name37" presStyleLbl="parChTrans1D2" presStyleIdx="0" presStyleCnt="2"/>
      <dgm:spPr/>
      <dgm:t>
        <a:bodyPr/>
        <a:lstStyle/>
        <a:p>
          <a:endParaRPr lang="ru-RU"/>
        </a:p>
      </dgm:t>
    </dgm:pt>
    <dgm:pt modelId="{E64656CD-E639-401A-B998-D67EE59A9989}" type="pres">
      <dgm:prSet presAssocID="{3203FE89-36F8-4B47-9940-80C0A33696EC}" presName="hierRoot2" presStyleCnt="0">
        <dgm:presLayoutVars>
          <dgm:hierBranch val="r"/>
        </dgm:presLayoutVars>
      </dgm:prSet>
      <dgm:spPr/>
    </dgm:pt>
    <dgm:pt modelId="{AD4AC627-1EB5-442D-A0CD-6DA4C74637AC}" type="pres">
      <dgm:prSet presAssocID="{3203FE89-36F8-4B47-9940-80C0A33696EC}" presName="rootComposite" presStyleCnt="0"/>
      <dgm:spPr/>
    </dgm:pt>
    <dgm:pt modelId="{0F8C0C89-9E1B-4E2A-8667-77F13C44910D}" type="pres">
      <dgm:prSet presAssocID="{3203FE89-36F8-4B47-9940-80C0A33696EC}" presName="rootText" presStyleLbl="node2" presStyleIdx="0" presStyleCnt="2" custScaleX="102279" custScaleY="244952" custLinFactNeighborX="6248" custLinFactNeighborY="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FB2BBF5-30F3-49EB-BC17-EC5836B1980B}" type="pres">
      <dgm:prSet presAssocID="{3203FE89-36F8-4B47-9940-80C0A33696EC}" presName="rootConnector" presStyleLbl="node2" presStyleIdx="0" presStyleCnt="2"/>
      <dgm:spPr/>
      <dgm:t>
        <a:bodyPr/>
        <a:lstStyle/>
        <a:p>
          <a:endParaRPr lang="ru-RU"/>
        </a:p>
      </dgm:t>
    </dgm:pt>
    <dgm:pt modelId="{8235C40A-92A8-4EB7-8C1A-4E0CBCD7F985}" type="pres">
      <dgm:prSet presAssocID="{3203FE89-36F8-4B47-9940-80C0A33696EC}" presName="hierChild4" presStyleCnt="0"/>
      <dgm:spPr/>
    </dgm:pt>
    <dgm:pt modelId="{16C3BE7A-15F5-42F7-AA1F-D2405D25F3F7}" type="pres">
      <dgm:prSet presAssocID="{3203FE89-36F8-4B47-9940-80C0A33696EC}" presName="hierChild5" presStyleCnt="0"/>
      <dgm:spPr/>
    </dgm:pt>
    <dgm:pt modelId="{EBBF6F71-FC75-4B12-89B3-0AFF445C628B}" type="pres">
      <dgm:prSet presAssocID="{07D325E9-5921-4831-B97E-ADDC7370B3CC}" presName="Name37" presStyleLbl="parChTrans1D2" presStyleIdx="1" presStyleCnt="2"/>
      <dgm:spPr/>
      <dgm:t>
        <a:bodyPr/>
        <a:lstStyle/>
        <a:p>
          <a:endParaRPr lang="ru-RU"/>
        </a:p>
      </dgm:t>
    </dgm:pt>
    <dgm:pt modelId="{770C4189-EFD6-4B45-A05D-AA1BEEB447AC}" type="pres">
      <dgm:prSet presAssocID="{E9B19076-A07F-4FAC-80B5-E3E36098D567}" presName="hierRoot2" presStyleCnt="0">
        <dgm:presLayoutVars>
          <dgm:hierBranch val="r"/>
        </dgm:presLayoutVars>
      </dgm:prSet>
      <dgm:spPr/>
    </dgm:pt>
    <dgm:pt modelId="{9005C50D-2EF8-4218-92B9-B48BA55CA4BE}" type="pres">
      <dgm:prSet presAssocID="{E9B19076-A07F-4FAC-80B5-E3E36098D567}" presName="rootComposite" presStyleCnt="0"/>
      <dgm:spPr/>
    </dgm:pt>
    <dgm:pt modelId="{834C9AA0-5CE9-4253-9A9E-CF2B65B4B406}" type="pres">
      <dgm:prSet presAssocID="{E9B19076-A07F-4FAC-80B5-E3E36098D567}" presName="rootText" presStyleLbl="node2" presStyleIdx="1" presStyleCnt="2" custScaleX="215731" custScaleY="245901" custLinFactNeighborX="-60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87EEC9F-4ACF-4289-A94F-AC04F1D203A8}" type="pres">
      <dgm:prSet presAssocID="{E9B19076-A07F-4FAC-80B5-E3E36098D567}" presName="rootConnector" presStyleLbl="node2" presStyleIdx="1" presStyleCnt="2"/>
      <dgm:spPr/>
      <dgm:t>
        <a:bodyPr/>
        <a:lstStyle/>
        <a:p>
          <a:endParaRPr lang="ru-RU"/>
        </a:p>
      </dgm:t>
    </dgm:pt>
    <dgm:pt modelId="{0E52A5B1-9CC3-4055-BBC0-1ACAA22C60B9}" type="pres">
      <dgm:prSet presAssocID="{E9B19076-A07F-4FAC-80B5-E3E36098D567}" presName="hierChild4" presStyleCnt="0"/>
      <dgm:spPr/>
    </dgm:pt>
    <dgm:pt modelId="{397CC95D-03D6-4713-9DBB-428DF0795465}" type="pres">
      <dgm:prSet presAssocID="{E9B19076-A07F-4FAC-80B5-E3E36098D567}" presName="hierChild5" presStyleCnt="0"/>
      <dgm:spPr/>
    </dgm:pt>
    <dgm:pt modelId="{CFB3F830-422B-462B-88A3-B3A3971875E4}" type="pres">
      <dgm:prSet presAssocID="{6940513C-937D-4F09-9B3D-17D75A42D37D}" presName="hierChild3" presStyleCnt="0"/>
      <dgm:spPr/>
    </dgm:pt>
  </dgm:ptLst>
  <dgm:cxnLst>
    <dgm:cxn modelId="{DC2E6696-19D1-404E-8012-5348669AC405}" type="presOf" srcId="{07D325E9-5921-4831-B97E-ADDC7370B3CC}" destId="{EBBF6F71-FC75-4B12-89B3-0AFF445C628B}" srcOrd="0" destOrd="0" presId="urn:microsoft.com/office/officeart/2005/8/layout/orgChart1"/>
    <dgm:cxn modelId="{ECD16D49-1666-42CF-9C74-CB3D620383F6}" type="presOf" srcId="{E9B19076-A07F-4FAC-80B5-E3E36098D567}" destId="{834C9AA0-5CE9-4253-9A9E-CF2B65B4B406}" srcOrd="0" destOrd="0" presId="urn:microsoft.com/office/officeart/2005/8/layout/orgChart1"/>
    <dgm:cxn modelId="{E40DA90E-33F8-4252-A755-EDD661298627}" type="presOf" srcId="{6940513C-937D-4F09-9B3D-17D75A42D37D}" destId="{4700F27F-0ED8-4F3B-84FE-13AD6829685F}" srcOrd="1" destOrd="0" presId="urn:microsoft.com/office/officeart/2005/8/layout/orgChart1"/>
    <dgm:cxn modelId="{2A500656-BC36-4F35-9E08-5B17584D4FB1}" type="presOf" srcId="{E9B19076-A07F-4FAC-80B5-E3E36098D567}" destId="{A87EEC9F-4ACF-4289-A94F-AC04F1D203A8}" srcOrd="1" destOrd="0" presId="urn:microsoft.com/office/officeart/2005/8/layout/orgChart1"/>
    <dgm:cxn modelId="{1808EA84-1308-4E65-9670-48F6797BABA1}" type="presOf" srcId="{E1B2A0ED-0FDB-43E5-8195-10AB4AFC5C11}" destId="{5BF8C03E-E3EF-49AE-BD50-AFBB4DEE62C3}" srcOrd="0" destOrd="0" presId="urn:microsoft.com/office/officeart/2005/8/layout/orgChart1"/>
    <dgm:cxn modelId="{F7D70097-6EFD-4E76-80B9-8855CF572478}" type="presOf" srcId="{3203FE89-36F8-4B47-9940-80C0A33696EC}" destId="{DFB2BBF5-30F3-49EB-BC17-EC5836B1980B}" srcOrd="1" destOrd="0" presId="urn:microsoft.com/office/officeart/2005/8/layout/orgChart1"/>
    <dgm:cxn modelId="{7461272A-7E9B-4726-B74D-959345B4AB49}" srcId="{FACBF8E0-E1F7-4D90-AD01-D6884A2CBFB7}" destId="{6940513C-937D-4F09-9B3D-17D75A42D37D}" srcOrd="0" destOrd="0" parTransId="{B72942E9-DAC5-47DB-83D7-519F98CA82FF}" sibTransId="{C6C50519-BFB2-41F8-818E-31E91D8A539A}"/>
    <dgm:cxn modelId="{058FB370-51EE-42A4-90AF-E9CECF02EC65}" type="presOf" srcId="{FACBF8E0-E1F7-4D90-AD01-D6884A2CBFB7}" destId="{B36DC1DE-1316-4935-9039-713092BB609E}" srcOrd="0" destOrd="0" presId="urn:microsoft.com/office/officeart/2005/8/layout/orgChart1"/>
    <dgm:cxn modelId="{9240705D-4080-42F8-A094-F464474CC1E1}" type="presOf" srcId="{6940513C-937D-4F09-9B3D-17D75A42D37D}" destId="{12C30914-20E3-4E4D-B41B-71C0270A9498}" srcOrd="0" destOrd="0" presId="urn:microsoft.com/office/officeart/2005/8/layout/orgChart1"/>
    <dgm:cxn modelId="{E9827BCC-F707-42E6-AB29-EC3C03E84ACB}" srcId="{6940513C-937D-4F09-9B3D-17D75A42D37D}" destId="{E9B19076-A07F-4FAC-80B5-E3E36098D567}" srcOrd="1" destOrd="0" parTransId="{07D325E9-5921-4831-B97E-ADDC7370B3CC}" sibTransId="{E81E633F-E89D-4C74-BD0C-DABBFFD22286}"/>
    <dgm:cxn modelId="{EF1F05C7-EA06-4B5B-B2D6-FFC308D40D91}" type="presOf" srcId="{3203FE89-36F8-4B47-9940-80C0A33696EC}" destId="{0F8C0C89-9E1B-4E2A-8667-77F13C44910D}" srcOrd="0" destOrd="0" presId="urn:microsoft.com/office/officeart/2005/8/layout/orgChart1"/>
    <dgm:cxn modelId="{777EED12-1EB8-42B1-BFA0-7E39AB6050BD}" srcId="{6940513C-937D-4F09-9B3D-17D75A42D37D}" destId="{3203FE89-36F8-4B47-9940-80C0A33696EC}" srcOrd="0" destOrd="0" parTransId="{E1B2A0ED-0FDB-43E5-8195-10AB4AFC5C11}" sibTransId="{10221D66-129A-40AF-BCFE-94EDE06848D8}"/>
    <dgm:cxn modelId="{9B00387A-E6D7-46A6-883E-11C2D3482D43}" type="presParOf" srcId="{B36DC1DE-1316-4935-9039-713092BB609E}" destId="{79F5C1DB-B99F-4A6F-9CB7-18E0FA638EA2}" srcOrd="0" destOrd="0" presId="urn:microsoft.com/office/officeart/2005/8/layout/orgChart1"/>
    <dgm:cxn modelId="{349C0EE0-364E-4C45-B8D4-03CC514CCCD4}" type="presParOf" srcId="{79F5C1DB-B99F-4A6F-9CB7-18E0FA638EA2}" destId="{5B84B7CE-4FB1-4DB0-B8BE-B365D04E4577}" srcOrd="0" destOrd="0" presId="urn:microsoft.com/office/officeart/2005/8/layout/orgChart1"/>
    <dgm:cxn modelId="{592EE4DE-5BAE-483B-9CE0-AA117E18B43C}" type="presParOf" srcId="{5B84B7CE-4FB1-4DB0-B8BE-B365D04E4577}" destId="{12C30914-20E3-4E4D-B41B-71C0270A9498}" srcOrd="0" destOrd="0" presId="urn:microsoft.com/office/officeart/2005/8/layout/orgChart1"/>
    <dgm:cxn modelId="{E2C8BEDB-5021-4702-960D-959E009CE48B}" type="presParOf" srcId="{5B84B7CE-4FB1-4DB0-B8BE-B365D04E4577}" destId="{4700F27F-0ED8-4F3B-84FE-13AD6829685F}" srcOrd="1" destOrd="0" presId="urn:microsoft.com/office/officeart/2005/8/layout/orgChart1"/>
    <dgm:cxn modelId="{6BF7CEBD-543B-4306-BD8A-3E652EF5460B}" type="presParOf" srcId="{79F5C1DB-B99F-4A6F-9CB7-18E0FA638EA2}" destId="{9C4065C8-E1D3-4B30-97C7-08F8389369EB}" srcOrd="1" destOrd="0" presId="urn:microsoft.com/office/officeart/2005/8/layout/orgChart1"/>
    <dgm:cxn modelId="{4569B5D9-385A-4E72-82DF-39824CFD5138}" type="presParOf" srcId="{9C4065C8-E1D3-4B30-97C7-08F8389369EB}" destId="{5BF8C03E-E3EF-49AE-BD50-AFBB4DEE62C3}" srcOrd="0" destOrd="0" presId="urn:microsoft.com/office/officeart/2005/8/layout/orgChart1"/>
    <dgm:cxn modelId="{1FB77BB4-28A1-4458-84C0-A37BD719CAE5}" type="presParOf" srcId="{9C4065C8-E1D3-4B30-97C7-08F8389369EB}" destId="{E64656CD-E639-401A-B998-D67EE59A9989}" srcOrd="1" destOrd="0" presId="urn:microsoft.com/office/officeart/2005/8/layout/orgChart1"/>
    <dgm:cxn modelId="{AB581993-8140-4342-8C15-0D93177FA2A9}" type="presParOf" srcId="{E64656CD-E639-401A-B998-D67EE59A9989}" destId="{AD4AC627-1EB5-442D-A0CD-6DA4C74637AC}" srcOrd="0" destOrd="0" presId="urn:microsoft.com/office/officeart/2005/8/layout/orgChart1"/>
    <dgm:cxn modelId="{372042F9-A55E-495A-BB8E-1D18CD6B3B44}" type="presParOf" srcId="{AD4AC627-1EB5-442D-A0CD-6DA4C74637AC}" destId="{0F8C0C89-9E1B-4E2A-8667-77F13C44910D}" srcOrd="0" destOrd="0" presId="urn:microsoft.com/office/officeart/2005/8/layout/orgChart1"/>
    <dgm:cxn modelId="{F28D77BB-0542-482F-8090-0A44238AE10E}" type="presParOf" srcId="{AD4AC627-1EB5-442D-A0CD-6DA4C74637AC}" destId="{DFB2BBF5-30F3-49EB-BC17-EC5836B1980B}" srcOrd="1" destOrd="0" presId="urn:microsoft.com/office/officeart/2005/8/layout/orgChart1"/>
    <dgm:cxn modelId="{764094B2-DE72-4826-9D55-C8558EA99FBC}" type="presParOf" srcId="{E64656CD-E639-401A-B998-D67EE59A9989}" destId="{8235C40A-92A8-4EB7-8C1A-4E0CBCD7F985}" srcOrd="1" destOrd="0" presId="urn:microsoft.com/office/officeart/2005/8/layout/orgChart1"/>
    <dgm:cxn modelId="{3DAB82CD-0BC1-4559-A6B5-0C3CB62F4F39}" type="presParOf" srcId="{E64656CD-E639-401A-B998-D67EE59A9989}" destId="{16C3BE7A-15F5-42F7-AA1F-D2405D25F3F7}" srcOrd="2" destOrd="0" presId="urn:microsoft.com/office/officeart/2005/8/layout/orgChart1"/>
    <dgm:cxn modelId="{E5F4C703-5D84-4C73-B96A-B1FCABCEFA30}" type="presParOf" srcId="{9C4065C8-E1D3-4B30-97C7-08F8389369EB}" destId="{EBBF6F71-FC75-4B12-89B3-0AFF445C628B}" srcOrd="2" destOrd="0" presId="urn:microsoft.com/office/officeart/2005/8/layout/orgChart1"/>
    <dgm:cxn modelId="{741A505C-2AB5-4EE2-8C15-980D582357D2}" type="presParOf" srcId="{9C4065C8-E1D3-4B30-97C7-08F8389369EB}" destId="{770C4189-EFD6-4B45-A05D-AA1BEEB447AC}" srcOrd="3" destOrd="0" presId="urn:microsoft.com/office/officeart/2005/8/layout/orgChart1"/>
    <dgm:cxn modelId="{94239612-C253-4F01-95B0-01F51DE883D7}" type="presParOf" srcId="{770C4189-EFD6-4B45-A05D-AA1BEEB447AC}" destId="{9005C50D-2EF8-4218-92B9-B48BA55CA4BE}" srcOrd="0" destOrd="0" presId="urn:microsoft.com/office/officeart/2005/8/layout/orgChart1"/>
    <dgm:cxn modelId="{A8A7369C-418E-4652-8A3A-61D33E2C368A}" type="presParOf" srcId="{9005C50D-2EF8-4218-92B9-B48BA55CA4BE}" destId="{834C9AA0-5CE9-4253-9A9E-CF2B65B4B406}" srcOrd="0" destOrd="0" presId="urn:microsoft.com/office/officeart/2005/8/layout/orgChart1"/>
    <dgm:cxn modelId="{F62FFA62-E2F6-41E9-9746-A9C35C036FE5}" type="presParOf" srcId="{9005C50D-2EF8-4218-92B9-B48BA55CA4BE}" destId="{A87EEC9F-4ACF-4289-A94F-AC04F1D203A8}" srcOrd="1" destOrd="0" presId="urn:microsoft.com/office/officeart/2005/8/layout/orgChart1"/>
    <dgm:cxn modelId="{1145B906-3058-4C7D-8D4D-6FB7977AEBC5}" type="presParOf" srcId="{770C4189-EFD6-4B45-A05D-AA1BEEB447AC}" destId="{0E52A5B1-9CC3-4055-BBC0-1ACAA22C60B9}" srcOrd="1" destOrd="0" presId="urn:microsoft.com/office/officeart/2005/8/layout/orgChart1"/>
    <dgm:cxn modelId="{88661E77-0B1B-4B6E-AB91-C295D9FC7A2D}" type="presParOf" srcId="{770C4189-EFD6-4B45-A05D-AA1BEEB447AC}" destId="{397CC95D-03D6-4713-9DBB-428DF0795465}" srcOrd="2" destOrd="0" presId="urn:microsoft.com/office/officeart/2005/8/layout/orgChart1"/>
    <dgm:cxn modelId="{257D236F-3270-4C72-87F8-71BAE3795AAC}" type="presParOf" srcId="{79F5C1DB-B99F-4A6F-9CB7-18E0FA638EA2}" destId="{CFB3F830-422B-462B-88A3-B3A3971875E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C917939-7904-4F88-B97B-49FE786B8D11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596E6A1-0377-4AE6-919A-205A265C7E64}">
      <dgm:prSet phldrT="[Текст]"/>
      <dgm:spPr/>
      <dgm:t>
        <a:bodyPr/>
        <a:lstStyle/>
        <a:p>
          <a:r>
            <a:rPr lang="ru-RU" b="1" dirty="0" smtClean="0">
              <a:latin typeface="Arial" pitchFamily="34" charset="0"/>
              <a:cs typeface="Arial" pitchFamily="34" charset="0"/>
            </a:rPr>
            <a:t>12</a:t>
          </a:r>
          <a:endParaRPr lang="ru-RU" b="1" dirty="0">
            <a:latin typeface="Arial" pitchFamily="34" charset="0"/>
            <a:cs typeface="Arial" pitchFamily="34" charset="0"/>
          </a:endParaRPr>
        </a:p>
      </dgm:t>
    </dgm:pt>
    <dgm:pt modelId="{8EB3C33D-DB40-4A5F-9E76-EAB6D715439F}" type="parTrans" cxnId="{E70FC7D6-D643-4C41-9223-784E50CD3B82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5BE57EA8-80D0-483D-BDC1-37989B8405AC}" type="sibTrans" cxnId="{E70FC7D6-D643-4C41-9223-784E50CD3B82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E8AC7895-3E4F-4D75-A789-EF5C1E30017B}">
      <dgm:prSet phldrT="[Текст]"/>
      <dgm:spPr/>
      <dgm:t>
        <a:bodyPr/>
        <a:lstStyle/>
        <a:p>
          <a:r>
            <a:rPr lang="ru-RU" b="1" dirty="0" smtClean="0">
              <a:latin typeface="Arial" pitchFamily="34" charset="0"/>
              <a:cs typeface="Arial" pitchFamily="34" charset="0"/>
            </a:rPr>
            <a:t>1</a:t>
          </a:r>
          <a:endParaRPr lang="ru-RU" b="1" dirty="0">
            <a:latin typeface="Arial" pitchFamily="34" charset="0"/>
            <a:cs typeface="Arial" pitchFamily="34" charset="0"/>
          </a:endParaRPr>
        </a:p>
      </dgm:t>
    </dgm:pt>
    <dgm:pt modelId="{30B18DC4-3E51-4689-9288-4D4CD221A5DD}" type="parTrans" cxnId="{64326463-9233-4C24-84F8-87687E29652D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AE2E4B76-3278-49A4-BA84-F64683A67D52}" type="sibTrans" cxnId="{64326463-9233-4C24-84F8-87687E29652D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B5FC79D2-C372-4FD3-8853-A17C363C862C}">
      <dgm:prSet phldrT="[Текст]"/>
      <dgm:spPr/>
      <dgm:t>
        <a:bodyPr/>
        <a:lstStyle/>
        <a:p>
          <a:r>
            <a:rPr lang="ru-RU" b="1" dirty="0" smtClean="0">
              <a:latin typeface="Arial" pitchFamily="34" charset="0"/>
              <a:cs typeface="Arial" pitchFamily="34" charset="0"/>
            </a:rPr>
            <a:t>1</a:t>
          </a:r>
          <a:endParaRPr lang="ru-RU" b="1" dirty="0">
            <a:latin typeface="Arial" pitchFamily="34" charset="0"/>
            <a:cs typeface="Arial" pitchFamily="34" charset="0"/>
          </a:endParaRPr>
        </a:p>
      </dgm:t>
    </dgm:pt>
    <dgm:pt modelId="{5982433D-77BC-459B-888C-3295B76119E2}" type="parTrans" cxnId="{DE63B873-5807-4887-BEEE-ECC35D1DE250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C75A74BF-97ED-4560-BC4B-DC93C9921AEA}" type="sibTrans" cxnId="{DE63B873-5807-4887-BEEE-ECC35D1DE250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479A7A19-2530-42D7-9D5D-13A0CC1A97C3}">
      <dgm:prSet phldrT="[Текст]"/>
      <dgm:spPr/>
      <dgm:t>
        <a:bodyPr/>
        <a:lstStyle/>
        <a:p>
          <a:r>
            <a:rPr lang="ru-RU" b="1" dirty="0" smtClean="0">
              <a:latin typeface="Arial" pitchFamily="34" charset="0"/>
              <a:cs typeface="Arial" pitchFamily="34" charset="0"/>
            </a:rPr>
            <a:t>…</a:t>
          </a:r>
          <a:endParaRPr lang="ru-RU" b="1" dirty="0">
            <a:latin typeface="Arial" pitchFamily="34" charset="0"/>
            <a:cs typeface="Arial" pitchFamily="34" charset="0"/>
          </a:endParaRPr>
        </a:p>
      </dgm:t>
    </dgm:pt>
    <dgm:pt modelId="{0B6F05B2-E8F5-484B-8BB4-015D3E8FA683}" type="parTrans" cxnId="{CB579717-B0D9-4796-B49C-63813FDCDAAD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E93AA2AB-1018-4158-96D1-762040948800}" type="sibTrans" cxnId="{CB579717-B0D9-4796-B49C-63813FDCDAAD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81DA5F20-51E4-445E-8FAA-49D1D53FF4AB}">
      <dgm:prSet phldrT="[Текст]"/>
      <dgm:spPr/>
      <dgm:t>
        <a:bodyPr/>
        <a:lstStyle/>
        <a:p>
          <a:r>
            <a:rPr lang="ru-RU" b="1" dirty="0" smtClean="0">
              <a:latin typeface="Arial" pitchFamily="34" charset="0"/>
              <a:cs typeface="Arial" pitchFamily="34" charset="0"/>
            </a:rPr>
            <a:t>…</a:t>
          </a:r>
          <a:endParaRPr lang="ru-RU" b="1" dirty="0">
            <a:latin typeface="Arial" pitchFamily="34" charset="0"/>
            <a:cs typeface="Arial" pitchFamily="34" charset="0"/>
          </a:endParaRPr>
        </a:p>
      </dgm:t>
    </dgm:pt>
    <dgm:pt modelId="{5A845AF6-4A1F-4823-8425-202670EB68B7}" type="parTrans" cxnId="{431F7F5C-BBB3-4DD0-BF9E-F0E68CC7AC7F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7B9914F1-415B-41BC-877F-05ED799A39F2}" type="sibTrans" cxnId="{431F7F5C-BBB3-4DD0-BF9E-F0E68CC7AC7F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0EBE6BAB-7800-4121-919D-1DDCC8D8C0CB}">
      <dgm:prSet phldrT="[Текст]"/>
      <dgm:spPr/>
      <dgm:t>
        <a:bodyPr/>
        <a:lstStyle/>
        <a:p>
          <a:r>
            <a:rPr lang="ru-RU" b="1" dirty="0" smtClean="0">
              <a:latin typeface="Arial" pitchFamily="34" charset="0"/>
              <a:cs typeface="Arial" pitchFamily="34" charset="0"/>
            </a:rPr>
            <a:t>…</a:t>
          </a:r>
          <a:endParaRPr lang="ru-RU" b="1" dirty="0">
            <a:latin typeface="Arial" pitchFamily="34" charset="0"/>
            <a:cs typeface="Arial" pitchFamily="34" charset="0"/>
          </a:endParaRPr>
        </a:p>
      </dgm:t>
    </dgm:pt>
    <dgm:pt modelId="{AF23A1C4-A14D-4468-885C-DE8FB79E965C}" type="parTrans" cxnId="{6E802D38-EC87-4936-8663-5E8160C8AC09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C4525B90-1C10-4B0D-945D-DD21C8BE03B2}" type="sibTrans" cxnId="{6E802D38-EC87-4936-8663-5E8160C8AC09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9C8A8F3D-CF4B-4534-A629-C03C665C022F}">
      <dgm:prSet phldrT="[Текст]"/>
      <dgm:spPr/>
      <dgm:t>
        <a:bodyPr/>
        <a:lstStyle/>
        <a:p>
          <a:r>
            <a:rPr lang="ru-RU" b="1" dirty="0" smtClean="0">
              <a:latin typeface="Arial" pitchFamily="34" charset="0"/>
              <a:cs typeface="Arial" pitchFamily="34" charset="0"/>
            </a:rPr>
            <a:t>Национальные проекты </a:t>
          </a:r>
          <a:endParaRPr lang="ru-RU" b="1" dirty="0">
            <a:latin typeface="Arial" pitchFamily="34" charset="0"/>
            <a:cs typeface="Arial" pitchFamily="34" charset="0"/>
          </a:endParaRPr>
        </a:p>
      </dgm:t>
    </dgm:pt>
    <dgm:pt modelId="{23E46BBB-7059-4AC2-A495-A7D018E33564}" type="parTrans" cxnId="{F6934779-8AC9-45EA-BEB6-9D60D426A1CC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A2216203-7DBC-4F77-8741-F94011CA4C36}" type="sibTrans" cxnId="{F6934779-8AC9-45EA-BEB6-9D60D426A1CC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B6D78DEB-16CD-42AF-9167-FC2EAEEDE967}">
      <dgm:prSet phldrT="[Текст]"/>
      <dgm:spPr/>
      <dgm:t>
        <a:bodyPr/>
        <a:lstStyle/>
        <a:p>
          <a:r>
            <a:rPr lang="ru-RU" b="1" dirty="0" smtClean="0">
              <a:latin typeface="Arial" pitchFamily="34" charset="0"/>
              <a:cs typeface="Arial" pitchFamily="34" charset="0"/>
            </a:rPr>
            <a:t>Федеральные проекты </a:t>
          </a:r>
          <a:endParaRPr lang="ru-RU" b="1" dirty="0">
            <a:latin typeface="Arial" pitchFamily="34" charset="0"/>
            <a:cs typeface="Arial" pitchFamily="34" charset="0"/>
          </a:endParaRPr>
        </a:p>
      </dgm:t>
    </dgm:pt>
    <dgm:pt modelId="{7AC110D2-B343-4687-B469-D032404B8AB1}" type="parTrans" cxnId="{9C34E370-A082-4A0F-981D-C791092AC009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D6608C52-E517-417B-AF9E-5D0C22FBBA5F}" type="sibTrans" cxnId="{9C34E370-A082-4A0F-981D-C791092AC009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253C21B8-D2DB-4E0B-88CE-1C5FB5A41C27}">
      <dgm:prSet phldrT="[Текст]"/>
      <dgm:spPr/>
      <dgm:t>
        <a:bodyPr/>
        <a:lstStyle/>
        <a:p>
          <a:r>
            <a:rPr lang="ru-RU" b="1" dirty="0" smtClean="0">
              <a:latin typeface="Arial" pitchFamily="34" charset="0"/>
              <a:cs typeface="Arial" pitchFamily="34" charset="0"/>
            </a:rPr>
            <a:t>Задачи в федеральных проектах</a:t>
          </a:r>
          <a:endParaRPr lang="ru-RU" b="1" dirty="0">
            <a:latin typeface="Arial" pitchFamily="34" charset="0"/>
            <a:cs typeface="Arial" pitchFamily="34" charset="0"/>
          </a:endParaRPr>
        </a:p>
      </dgm:t>
    </dgm:pt>
    <dgm:pt modelId="{09985EF9-D989-4B21-8045-1C0A2277331E}" type="parTrans" cxnId="{C5CB2DC8-AFBD-44CB-8BE4-2B1FAA57A01A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F58672A0-B41D-482F-97D9-1E981FD55246}" type="sibTrans" cxnId="{C5CB2DC8-AFBD-44CB-8BE4-2B1FAA57A01A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479BC261-DAF4-4629-AA64-B4C056EFAB2D}">
      <dgm:prSet/>
      <dgm:spPr/>
      <dgm:t>
        <a:bodyPr/>
        <a:lstStyle/>
        <a:p>
          <a:r>
            <a:rPr lang="ru-RU" b="1" dirty="0" smtClean="0">
              <a:latin typeface="Arial" pitchFamily="34" charset="0"/>
              <a:cs typeface="Arial" pitchFamily="34" charset="0"/>
            </a:rPr>
            <a:t>&gt;60</a:t>
          </a:r>
          <a:endParaRPr lang="ru-RU" b="1" dirty="0">
            <a:latin typeface="Arial" pitchFamily="34" charset="0"/>
            <a:cs typeface="Arial" pitchFamily="34" charset="0"/>
          </a:endParaRPr>
        </a:p>
      </dgm:t>
    </dgm:pt>
    <dgm:pt modelId="{07F8EFB4-5219-44EE-B213-DF24E5025890}" type="parTrans" cxnId="{458F554A-6EF5-46B4-AB3C-B028A088D193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54E7EAAC-D3A4-4F18-8FC0-2E0ED8E7B391}" type="sibTrans" cxnId="{458F554A-6EF5-46B4-AB3C-B028A088D193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FA5BCB2C-C5B5-4B10-9309-890A57244480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7578F317-AE9D-4EEA-89BD-E7442740AAC2}" type="parTrans" cxnId="{E07CACD5-A938-425C-93DF-61CA13A873E3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74C38138-E4F7-4A6F-8E9F-4B47A624EF7D}" type="sibTrans" cxnId="{E07CACD5-A938-425C-93DF-61CA13A873E3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6CDDAD76-7750-49B3-8D5A-833CCACA073F}">
      <dgm:prSet/>
      <dgm:spPr/>
      <dgm:t>
        <a:bodyPr/>
        <a:lstStyle/>
        <a:p>
          <a:r>
            <a:rPr lang="ru-RU" b="1" smtClean="0">
              <a:latin typeface="Arial" pitchFamily="34" charset="0"/>
              <a:cs typeface="Arial" pitchFamily="34" charset="0"/>
            </a:rPr>
            <a:t>&gt;180</a:t>
          </a:r>
          <a:endParaRPr lang="ru-RU" b="1" dirty="0">
            <a:latin typeface="Arial" pitchFamily="34" charset="0"/>
            <a:cs typeface="Arial" pitchFamily="34" charset="0"/>
          </a:endParaRPr>
        </a:p>
      </dgm:t>
    </dgm:pt>
    <dgm:pt modelId="{13E23986-5045-4654-96FF-64AB788FEC56}" type="parTrans" cxnId="{EF54B896-E14A-459E-A000-2EB2881EF72A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7A05B476-A2CE-48CF-AC9F-951DFCBFCC0F}" type="sibTrans" cxnId="{EF54B896-E14A-459E-A000-2EB2881EF72A}">
      <dgm:prSet/>
      <dgm:spPr/>
      <dgm:t>
        <a:bodyPr/>
        <a:lstStyle/>
        <a:p>
          <a:endParaRPr lang="ru-RU" b="1">
            <a:latin typeface="Arial" pitchFamily="34" charset="0"/>
            <a:cs typeface="Arial" pitchFamily="34" charset="0"/>
          </a:endParaRPr>
        </a:p>
      </dgm:t>
    </dgm:pt>
    <dgm:pt modelId="{6C3316D6-8FCF-4E0C-9036-AB4DDE433A6A}" type="pres">
      <dgm:prSet presAssocID="{2C917939-7904-4F88-B97B-49FE786B8D11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9C80650-1FA6-4812-A0B7-53E6A5EF0852}" type="pres">
      <dgm:prSet presAssocID="{2C917939-7904-4F88-B97B-49FE786B8D11}" presName="hierFlow" presStyleCnt="0"/>
      <dgm:spPr/>
    </dgm:pt>
    <dgm:pt modelId="{C2AE682C-05F8-4CEB-87DD-F05D45D7950E}" type="pres">
      <dgm:prSet presAssocID="{2C917939-7904-4F88-B97B-49FE786B8D11}" presName="firstBuf" presStyleCnt="0"/>
      <dgm:spPr/>
    </dgm:pt>
    <dgm:pt modelId="{E3CE167E-F4F8-435D-B48D-B7C1F8F122D7}" type="pres">
      <dgm:prSet presAssocID="{2C917939-7904-4F88-B97B-49FE786B8D11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3928BAE8-DF29-4758-87B5-91DB51289FED}" type="pres">
      <dgm:prSet presAssocID="{8596E6A1-0377-4AE6-919A-205A265C7E64}" presName="Name17" presStyleCnt="0"/>
      <dgm:spPr/>
    </dgm:pt>
    <dgm:pt modelId="{C7520CF7-AAC7-4F02-B3E5-9A1E24AA26F5}" type="pres">
      <dgm:prSet presAssocID="{8596E6A1-0377-4AE6-919A-205A265C7E64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D0487B1-8730-4C79-A816-5DED01DA177D}" type="pres">
      <dgm:prSet presAssocID="{8596E6A1-0377-4AE6-919A-205A265C7E64}" presName="hierChild2" presStyleCnt="0"/>
      <dgm:spPr/>
    </dgm:pt>
    <dgm:pt modelId="{A4C9F4CE-F211-49D2-A864-631BAC3941E2}" type="pres">
      <dgm:prSet presAssocID="{30B18DC4-3E51-4689-9288-4D4CD221A5DD}" presName="Name25" presStyleLbl="parChTrans1D2" presStyleIdx="0" presStyleCnt="3"/>
      <dgm:spPr/>
      <dgm:t>
        <a:bodyPr/>
        <a:lstStyle/>
        <a:p>
          <a:endParaRPr lang="ru-RU"/>
        </a:p>
      </dgm:t>
    </dgm:pt>
    <dgm:pt modelId="{594F81E3-DD2A-498E-841B-88B47E1D9FD0}" type="pres">
      <dgm:prSet presAssocID="{30B18DC4-3E51-4689-9288-4D4CD221A5DD}" presName="connTx" presStyleLbl="parChTrans1D2" presStyleIdx="0" presStyleCnt="3"/>
      <dgm:spPr/>
      <dgm:t>
        <a:bodyPr/>
        <a:lstStyle/>
        <a:p>
          <a:endParaRPr lang="ru-RU"/>
        </a:p>
      </dgm:t>
    </dgm:pt>
    <dgm:pt modelId="{157E6C6B-BF0C-4DC8-981D-A300817F6059}" type="pres">
      <dgm:prSet presAssocID="{E8AC7895-3E4F-4D75-A789-EF5C1E30017B}" presName="Name30" presStyleCnt="0"/>
      <dgm:spPr/>
    </dgm:pt>
    <dgm:pt modelId="{610AF46C-5A9F-4C8E-A1D1-54F18A14E0A5}" type="pres">
      <dgm:prSet presAssocID="{E8AC7895-3E4F-4D75-A789-EF5C1E30017B}" presName="level2Shape" presStyleLbl="node2" presStyleIdx="0" presStyleCnt="3"/>
      <dgm:spPr/>
      <dgm:t>
        <a:bodyPr/>
        <a:lstStyle/>
        <a:p>
          <a:endParaRPr lang="ru-RU"/>
        </a:p>
      </dgm:t>
    </dgm:pt>
    <dgm:pt modelId="{DD97B3A7-0315-4DA3-8C9B-EC7A489F99CE}" type="pres">
      <dgm:prSet presAssocID="{E8AC7895-3E4F-4D75-A789-EF5C1E30017B}" presName="hierChild3" presStyleCnt="0"/>
      <dgm:spPr/>
    </dgm:pt>
    <dgm:pt modelId="{5FEF7D41-5112-4C4D-B917-B9529C5F1385}" type="pres">
      <dgm:prSet presAssocID="{5982433D-77BC-459B-888C-3295B76119E2}" presName="Name25" presStyleLbl="parChTrans1D3" presStyleIdx="0" presStyleCnt="5"/>
      <dgm:spPr/>
      <dgm:t>
        <a:bodyPr/>
        <a:lstStyle/>
        <a:p>
          <a:endParaRPr lang="ru-RU"/>
        </a:p>
      </dgm:t>
    </dgm:pt>
    <dgm:pt modelId="{234D1730-9D54-4C33-8450-5F5AB7E8C891}" type="pres">
      <dgm:prSet presAssocID="{5982433D-77BC-459B-888C-3295B76119E2}" presName="connTx" presStyleLbl="parChTrans1D3" presStyleIdx="0" presStyleCnt="5"/>
      <dgm:spPr/>
      <dgm:t>
        <a:bodyPr/>
        <a:lstStyle/>
        <a:p>
          <a:endParaRPr lang="ru-RU"/>
        </a:p>
      </dgm:t>
    </dgm:pt>
    <dgm:pt modelId="{287602BF-23D5-4E52-B945-CB857CB29C7A}" type="pres">
      <dgm:prSet presAssocID="{B5FC79D2-C372-4FD3-8853-A17C363C862C}" presName="Name30" presStyleCnt="0"/>
      <dgm:spPr/>
    </dgm:pt>
    <dgm:pt modelId="{BA551113-5299-4B4B-BD25-BDC75502DA62}" type="pres">
      <dgm:prSet presAssocID="{B5FC79D2-C372-4FD3-8853-A17C363C862C}" presName="level2Shape" presStyleLbl="node3" presStyleIdx="0" presStyleCnt="5"/>
      <dgm:spPr/>
      <dgm:t>
        <a:bodyPr/>
        <a:lstStyle/>
        <a:p>
          <a:endParaRPr lang="ru-RU"/>
        </a:p>
      </dgm:t>
    </dgm:pt>
    <dgm:pt modelId="{EDE64E8B-6108-4869-8E1C-E671B309996D}" type="pres">
      <dgm:prSet presAssocID="{B5FC79D2-C372-4FD3-8853-A17C363C862C}" presName="hierChild3" presStyleCnt="0"/>
      <dgm:spPr/>
    </dgm:pt>
    <dgm:pt modelId="{037C6405-1729-496C-98C5-235BFF2B7AD2}" type="pres">
      <dgm:prSet presAssocID="{0B6F05B2-E8F5-484B-8BB4-015D3E8FA683}" presName="Name25" presStyleLbl="parChTrans1D3" presStyleIdx="1" presStyleCnt="5"/>
      <dgm:spPr/>
      <dgm:t>
        <a:bodyPr/>
        <a:lstStyle/>
        <a:p>
          <a:endParaRPr lang="ru-RU"/>
        </a:p>
      </dgm:t>
    </dgm:pt>
    <dgm:pt modelId="{C815684F-6865-4F4F-990F-9812824D7586}" type="pres">
      <dgm:prSet presAssocID="{0B6F05B2-E8F5-484B-8BB4-015D3E8FA683}" presName="connTx" presStyleLbl="parChTrans1D3" presStyleIdx="1" presStyleCnt="5"/>
      <dgm:spPr/>
      <dgm:t>
        <a:bodyPr/>
        <a:lstStyle/>
        <a:p>
          <a:endParaRPr lang="ru-RU"/>
        </a:p>
      </dgm:t>
    </dgm:pt>
    <dgm:pt modelId="{3B5B9047-E6FF-4758-BDAF-EB0290CE132E}" type="pres">
      <dgm:prSet presAssocID="{479A7A19-2530-42D7-9D5D-13A0CC1A97C3}" presName="Name30" presStyleCnt="0"/>
      <dgm:spPr/>
    </dgm:pt>
    <dgm:pt modelId="{4BD5E7CC-025F-4864-AD49-BB96DA1CF7E9}" type="pres">
      <dgm:prSet presAssocID="{479A7A19-2530-42D7-9D5D-13A0CC1A97C3}" presName="level2Shape" presStyleLbl="node3" presStyleIdx="1" presStyleCnt="5"/>
      <dgm:spPr/>
      <dgm:t>
        <a:bodyPr/>
        <a:lstStyle/>
        <a:p>
          <a:endParaRPr lang="ru-RU"/>
        </a:p>
      </dgm:t>
    </dgm:pt>
    <dgm:pt modelId="{B22BAACD-D037-4739-897C-A40E82F538C2}" type="pres">
      <dgm:prSet presAssocID="{479A7A19-2530-42D7-9D5D-13A0CC1A97C3}" presName="hierChild3" presStyleCnt="0"/>
      <dgm:spPr/>
    </dgm:pt>
    <dgm:pt modelId="{6D075E30-8601-46ED-9B00-EEB80F3C1B55}" type="pres">
      <dgm:prSet presAssocID="{5A845AF6-4A1F-4823-8425-202670EB68B7}" presName="Name25" presStyleLbl="parChTrans1D2" presStyleIdx="1" presStyleCnt="3"/>
      <dgm:spPr/>
      <dgm:t>
        <a:bodyPr/>
        <a:lstStyle/>
        <a:p>
          <a:endParaRPr lang="ru-RU"/>
        </a:p>
      </dgm:t>
    </dgm:pt>
    <dgm:pt modelId="{4DF1B1D5-68D7-4DFB-A5A6-0BC860D9653F}" type="pres">
      <dgm:prSet presAssocID="{5A845AF6-4A1F-4823-8425-202670EB68B7}" presName="connTx" presStyleLbl="parChTrans1D2" presStyleIdx="1" presStyleCnt="3"/>
      <dgm:spPr/>
      <dgm:t>
        <a:bodyPr/>
        <a:lstStyle/>
        <a:p>
          <a:endParaRPr lang="ru-RU"/>
        </a:p>
      </dgm:t>
    </dgm:pt>
    <dgm:pt modelId="{BD84B3C1-65F4-4F27-87E2-5F7708D7E5A1}" type="pres">
      <dgm:prSet presAssocID="{81DA5F20-51E4-445E-8FAA-49D1D53FF4AB}" presName="Name30" presStyleCnt="0"/>
      <dgm:spPr/>
    </dgm:pt>
    <dgm:pt modelId="{776462A4-F664-4EC4-B722-291232252A60}" type="pres">
      <dgm:prSet presAssocID="{81DA5F20-51E4-445E-8FAA-49D1D53FF4AB}" presName="level2Shape" presStyleLbl="node2" presStyleIdx="1" presStyleCnt="3"/>
      <dgm:spPr/>
      <dgm:t>
        <a:bodyPr/>
        <a:lstStyle/>
        <a:p>
          <a:endParaRPr lang="ru-RU"/>
        </a:p>
      </dgm:t>
    </dgm:pt>
    <dgm:pt modelId="{C3EA39BC-EA0B-4F0E-A778-513F8BAAFABD}" type="pres">
      <dgm:prSet presAssocID="{81DA5F20-51E4-445E-8FAA-49D1D53FF4AB}" presName="hierChild3" presStyleCnt="0"/>
      <dgm:spPr/>
    </dgm:pt>
    <dgm:pt modelId="{16DF7FA3-E6EC-46FB-AAD5-486940F29FB8}" type="pres">
      <dgm:prSet presAssocID="{AF23A1C4-A14D-4468-885C-DE8FB79E965C}" presName="Name25" presStyleLbl="parChTrans1D3" presStyleIdx="2" presStyleCnt="5"/>
      <dgm:spPr/>
      <dgm:t>
        <a:bodyPr/>
        <a:lstStyle/>
        <a:p>
          <a:endParaRPr lang="ru-RU"/>
        </a:p>
      </dgm:t>
    </dgm:pt>
    <dgm:pt modelId="{80113F73-A954-4465-886A-EB42D15D039C}" type="pres">
      <dgm:prSet presAssocID="{AF23A1C4-A14D-4468-885C-DE8FB79E965C}" presName="connTx" presStyleLbl="parChTrans1D3" presStyleIdx="2" presStyleCnt="5"/>
      <dgm:spPr/>
      <dgm:t>
        <a:bodyPr/>
        <a:lstStyle/>
        <a:p>
          <a:endParaRPr lang="ru-RU"/>
        </a:p>
      </dgm:t>
    </dgm:pt>
    <dgm:pt modelId="{1E383ABA-511F-4D10-A1EE-5424C0B7FBAB}" type="pres">
      <dgm:prSet presAssocID="{0EBE6BAB-7800-4121-919D-1DDCC8D8C0CB}" presName="Name30" presStyleCnt="0"/>
      <dgm:spPr/>
    </dgm:pt>
    <dgm:pt modelId="{168A7053-52BB-4061-952A-8DB73189B087}" type="pres">
      <dgm:prSet presAssocID="{0EBE6BAB-7800-4121-919D-1DDCC8D8C0CB}" presName="level2Shape" presStyleLbl="node3" presStyleIdx="2" presStyleCnt="5"/>
      <dgm:spPr/>
      <dgm:t>
        <a:bodyPr/>
        <a:lstStyle/>
        <a:p>
          <a:endParaRPr lang="ru-RU"/>
        </a:p>
      </dgm:t>
    </dgm:pt>
    <dgm:pt modelId="{C1CA7837-8D55-4045-8CA5-27FA776EBF18}" type="pres">
      <dgm:prSet presAssocID="{0EBE6BAB-7800-4121-919D-1DDCC8D8C0CB}" presName="hierChild3" presStyleCnt="0"/>
      <dgm:spPr/>
    </dgm:pt>
    <dgm:pt modelId="{E11724A7-BCBF-4391-A5E7-A5B7E46FF1DB}" type="pres">
      <dgm:prSet presAssocID="{07F8EFB4-5219-44EE-B213-DF24E5025890}" presName="Name25" presStyleLbl="parChTrans1D2" presStyleIdx="2" presStyleCnt="3"/>
      <dgm:spPr/>
      <dgm:t>
        <a:bodyPr/>
        <a:lstStyle/>
        <a:p>
          <a:endParaRPr lang="ru-RU"/>
        </a:p>
      </dgm:t>
    </dgm:pt>
    <dgm:pt modelId="{4287F1D0-AA00-4F72-A4EE-2EFCDE2DE4C6}" type="pres">
      <dgm:prSet presAssocID="{07F8EFB4-5219-44EE-B213-DF24E5025890}" presName="connTx" presStyleLbl="parChTrans1D2" presStyleIdx="2" presStyleCnt="3"/>
      <dgm:spPr/>
      <dgm:t>
        <a:bodyPr/>
        <a:lstStyle/>
        <a:p>
          <a:endParaRPr lang="ru-RU"/>
        </a:p>
      </dgm:t>
    </dgm:pt>
    <dgm:pt modelId="{158DF9EA-E067-40DA-847C-6ED4EAC3F478}" type="pres">
      <dgm:prSet presAssocID="{479BC261-DAF4-4629-AA64-B4C056EFAB2D}" presName="Name30" presStyleCnt="0"/>
      <dgm:spPr/>
    </dgm:pt>
    <dgm:pt modelId="{ED4C4418-8625-4B5A-ACE5-74CA7CE8F350}" type="pres">
      <dgm:prSet presAssocID="{479BC261-DAF4-4629-AA64-B4C056EFAB2D}" presName="level2Shape" presStyleLbl="node2" presStyleIdx="2" presStyleCnt="3" custLinFactNeighborX="3163"/>
      <dgm:spPr/>
      <dgm:t>
        <a:bodyPr/>
        <a:lstStyle/>
        <a:p>
          <a:endParaRPr lang="ru-RU"/>
        </a:p>
      </dgm:t>
    </dgm:pt>
    <dgm:pt modelId="{76BD9780-E933-4DA4-AFB4-54718E553D6C}" type="pres">
      <dgm:prSet presAssocID="{479BC261-DAF4-4629-AA64-B4C056EFAB2D}" presName="hierChild3" presStyleCnt="0"/>
      <dgm:spPr/>
    </dgm:pt>
    <dgm:pt modelId="{E5A1CF06-5BCD-480F-89A0-3A67A75B67AC}" type="pres">
      <dgm:prSet presAssocID="{7578F317-AE9D-4EEA-89BD-E7442740AAC2}" presName="Name25" presStyleLbl="parChTrans1D3" presStyleIdx="3" presStyleCnt="5"/>
      <dgm:spPr/>
      <dgm:t>
        <a:bodyPr/>
        <a:lstStyle/>
        <a:p>
          <a:endParaRPr lang="ru-RU"/>
        </a:p>
      </dgm:t>
    </dgm:pt>
    <dgm:pt modelId="{647C3373-92CA-497D-B5A4-F538319EF105}" type="pres">
      <dgm:prSet presAssocID="{7578F317-AE9D-4EEA-89BD-E7442740AAC2}" presName="connTx" presStyleLbl="parChTrans1D3" presStyleIdx="3" presStyleCnt="5"/>
      <dgm:spPr/>
      <dgm:t>
        <a:bodyPr/>
        <a:lstStyle/>
        <a:p>
          <a:endParaRPr lang="ru-RU"/>
        </a:p>
      </dgm:t>
    </dgm:pt>
    <dgm:pt modelId="{CF16DAFE-48D0-431A-9324-9A3F8CB34DEE}" type="pres">
      <dgm:prSet presAssocID="{FA5BCB2C-C5B5-4B10-9309-890A57244480}" presName="Name30" presStyleCnt="0"/>
      <dgm:spPr/>
    </dgm:pt>
    <dgm:pt modelId="{4DFC410C-8516-43FC-ABC8-E31618BC5CA8}" type="pres">
      <dgm:prSet presAssocID="{FA5BCB2C-C5B5-4B10-9309-890A57244480}" presName="level2Shape" presStyleLbl="node3" presStyleIdx="3" presStyleCnt="5"/>
      <dgm:spPr/>
      <dgm:t>
        <a:bodyPr/>
        <a:lstStyle/>
        <a:p>
          <a:endParaRPr lang="ru-RU"/>
        </a:p>
      </dgm:t>
    </dgm:pt>
    <dgm:pt modelId="{065430B3-7F96-467E-A137-A3CBC053253A}" type="pres">
      <dgm:prSet presAssocID="{FA5BCB2C-C5B5-4B10-9309-890A57244480}" presName="hierChild3" presStyleCnt="0"/>
      <dgm:spPr/>
    </dgm:pt>
    <dgm:pt modelId="{DDCAE5E9-3300-4168-80E4-CE27E8585C90}" type="pres">
      <dgm:prSet presAssocID="{13E23986-5045-4654-96FF-64AB788FEC56}" presName="Name25" presStyleLbl="parChTrans1D3" presStyleIdx="4" presStyleCnt="5"/>
      <dgm:spPr/>
      <dgm:t>
        <a:bodyPr/>
        <a:lstStyle/>
        <a:p>
          <a:endParaRPr lang="ru-RU"/>
        </a:p>
      </dgm:t>
    </dgm:pt>
    <dgm:pt modelId="{EFD45CFE-B4B0-4901-BCCE-72DE474CB186}" type="pres">
      <dgm:prSet presAssocID="{13E23986-5045-4654-96FF-64AB788FEC56}" presName="connTx" presStyleLbl="parChTrans1D3" presStyleIdx="4" presStyleCnt="5"/>
      <dgm:spPr/>
      <dgm:t>
        <a:bodyPr/>
        <a:lstStyle/>
        <a:p>
          <a:endParaRPr lang="ru-RU"/>
        </a:p>
      </dgm:t>
    </dgm:pt>
    <dgm:pt modelId="{B9BADC83-F061-4086-908D-A73B6EDF95BE}" type="pres">
      <dgm:prSet presAssocID="{6CDDAD76-7750-49B3-8D5A-833CCACA073F}" presName="Name30" presStyleCnt="0"/>
      <dgm:spPr/>
    </dgm:pt>
    <dgm:pt modelId="{F3B061BE-6873-4404-A637-CA5DDF4073C1}" type="pres">
      <dgm:prSet presAssocID="{6CDDAD76-7750-49B3-8D5A-833CCACA073F}" presName="level2Shape" presStyleLbl="node3" presStyleIdx="4" presStyleCnt="5"/>
      <dgm:spPr/>
      <dgm:t>
        <a:bodyPr/>
        <a:lstStyle/>
        <a:p>
          <a:endParaRPr lang="ru-RU"/>
        </a:p>
      </dgm:t>
    </dgm:pt>
    <dgm:pt modelId="{D026B65A-189E-4A97-9303-3B17CCBE52FC}" type="pres">
      <dgm:prSet presAssocID="{6CDDAD76-7750-49B3-8D5A-833CCACA073F}" presName="hierChild3" presStyleCnt="0"/>
      <dgm:spPr/>
    </dgm:pt>
    <dgm:pt modelId="{F06ACE70-0C6B-4064-ABCA-4630FFC72CF3}" type="pres">
      <dgm:prSet presAssocID="{2C917939-7904-4F88-B97B-49FE786B8D11}" presName="bgShapesFlow" presStyleCnt="0"/>
      <dgm:spPr/>
    </dgm:pt>
    <dgm:pt modelId="{1EF745FB-BB59-4BCE-A5F6-CC95D66ADDFD}" type="pres">
      <dgm:prSet presAssocID="{9C8A8F3D-CF4B-4534-A629-C03C665C022F}" presName="rectComp" presStyleCnt="0"/>
      <dgm:spPr/>
    </dgm:pt>
    <dgm:pt modelId="{8B820791-D576-4F67-A5B6-1A55C7FA6B2C}" type="pres">
      <dgm:prSet presAssocID="{9C8A8F3D-CF4B-4534-A629-C03C665C022F}" presName="bgRect" presStyleLbl="bgShp" presStyleIdx="0" presStyleCnt="3" custLinFactNeighborY="-938"/>
      <dgm:spPr/>
      <dgm:t>
        <a:bodyPr/>
        <a:lstStyle/>
        <a:p>
          <a:endParaRPr lang="ru-RU"/>
        </a:p>
      </dgm:t>
    </dgm:pt>
    <dgm:pt modelId="{6CAFC208-1A90-4BA1-8925-C638B8D79FC1}" type="pres">
      <dgm:prSet presAssocID="{9C8A8F3D-CF4B-4534-A629-C03C665C022F}" presName="bgRectTx" presStyleLbl="bgShp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CADFFF-80E0-4E8B-B968-B0D52685BC83}" type="pres">
      <dgm:prSet presAssocID="{9C8A8F3D-CF4B-4534-A629-C03C665C022F}" presName="spComp" presStyleCnt="0"/>
      <dgm:spPr/>
    </dgm:pt>
    <dgm:pt modelId="{34E6B40E-AD1F-43DC-9415-C41AD2FCE4C0}" type="pres">
      <dgm:prSet presAssocID="{9C8A8F3D-CF4B-4534-A629-C03C665C022F}" presName="hSp" presStyleCnt="0"/>
      <dgm:spPr/>
    </dgm:pt>
    <dgm:pt modelId="{5A3F8D7D-3800-4ABD-B9F5-72C838EBAEB1}" type="pres">
      <dgm:prSet presAssocID="{B6D78DEB-16CD-42AF-9167-FC2EAEEDE967}" presName="rectComp" presStyleCnt="0"/>
      <dgm:spPr/>
    </dgm:pt>
    <dgm:pt modelId="{A603F75E-74E6-488A-8818-4CED8A8F160D}" type="pres">
      <dgm:prSet presAssocID="{B6D78DEB-16CD-42AF-9167-FC2EAEEDE967}" presName="bgRect" presStyleLbl="bgShp" presStyleIdx="1" presStyleCnt="3"/>
      <dgm:spPr/>
      <dgm:t>
        <a:bodyPr/>
        <a:lstStyle/>
        <a:p>
          <a:endParaRPr lang="ru-RU"/>
        </a:p>
      </dgm:t>
    </dgm:pt>
    <dgm:pt modelId="{FB68389D-35F6-407E-8F50-A6D617567F1E}" type="pres">
      <dgm:prSet presAssocID="{B6D78DEB-16CD-42AF-9167-FC2EAEEDE967}" presName="bgRectTx" presStyleLbl="bgShp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6875EF-D588-4AA6-9CBD-02B4972118FB}" type="pres">
      <dgm:prSet presAssocID="{B6D78DEB-16CD-42AF-9167-FC2EAEEDE967}" presName="spComp" presStyleCnt="0"/>
      <dgm:spPr/>
    </dgm:pt>
    <dgm:pt modelId="{34981477-EC5A-4815-8ACB-904D2344D519}" type="pres">
      <dgm:prSet presAssocID="{B6D78DEB-16CD-42AF-9167-FC2EAEEDE967}" presName="hSp" presStyleCnt="0"/>
      <dgm:spPr/>
    </dgm:pt>
    <dgm:pt modelId="{344E491F-846C-437A-BC20-0AFEB4FF85C2}" type="pres">
      <dgm:prSet presAssocID="{253C21B8-D2DB-4E0B-88CE-1C5FB5A41C27}" presName="rectComp" presStyleCnt="0"/>
      <dgm:spPr/>
    </dgm:pt>
    <dgm:pt modelId="{BB7F07E6-76E1-4770-9046-CE9398EF1C2E}" type="pres">
      <dgm:prSet presAssocID="{253C21B8-D2DB-4E0B-88CE-1C5FB5A41C27}" presName="bgRect" presStyleLbl="bgShp" presStyleIdx="2" presStyleCnt="3"/>
      <dgm:spPr/>
      <dgm:t>
        <a:bodyPr/>
        <a:lstStyle/>
        <a:p>
          <a:endParaRPr lang="ru-RU"/>
        </a:p>
      </dgm:t>
    </dgm:pt>
    <dgm:pt modelId="{282D3E65-AA2D-4F62-9ED4-7010F31DF536}" type="pres">
      <dgm:prSet presAssocID="{253C21B8-D2DB-4E0B-88CE-1C5FB5A41C27}" presName="bgRectTx" presStyleLbl="bgShp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17A3B04-B4BF-4BDE-83A1-978480694E0D}" type="presOf" srcId="{253C21B8-D2DB-4E0B-88CE-1C5FB5A41C27}" destId="{282D3E65-AA2D-4F62-9ED4-7010F31DF536}" srcOrd="1" destOrd="0" presId="urn:microsoft.com/office/officeart/2005/8/layout/hierarchy5"/>
    <dgm:cxn modelId="{1E81B9FF-2699-44CD-AE1D-855E2F2D9929}" type="presOf" srcId="{253C21B8-D2DB-4E0B-88CE-1C5FB5A41C27}" destId="{BB7F07E6-76E1-4770-9046-CE9398EF1C2E}" srcOrd="0" destOrd="0" presId="urn:microsoft.com/office/officeart/2005/8/layout/hierarchy5"/>
    <dgm:cxn modelId="{2AE9830C-BF73-4088-AAD1-94E5ACB8A64C}" type="presOf" srcId="{07F8EFB4-5219-44EE-B213-DF24E5025890}" destId="{4287F1D0-AA00-4F72-A4EE-2EFCDE2DE4C6}" srcOrd="1" destOrd="0" presId="urn:microsoft.com/office/officeart/2005/8/layout/hierarchy5"/>
    <dgm:cxn modelId="{08D43E2B-18EF-470C-9C2D-0576FCA6CA01}" type="presOf" srcId="{0B6F05B2-E8F5-484B-8BB4-015D3E8FA683}" destId="{037C6405-1729-496C-98C5-235BFF2B7AD2}" srcOrd="0" destOrd="0" presId="urn:microsoft.com/office/officeart/2005/8/layout/hierarchy5"/>
    <dgm:cxn modelId="{68FBE381-A00B-4125-9C93-2D0DEA7AA983}" type="presOf" srcId="{5A845AF6-4A1F-4823-8425-202670EB68B7}" destId="{6D075E30-8601-46ED-9B00-EEB80F3C1B55}" srcOrd="0" destOrd="0" presId="urn:microsoft.com/office/officeart/2005/8/layout/hierarchy5"/>
    <dgm:cxn modelId="{F77328CB-6BA3-497E-BAEB-EF23DB63CBF4}" type="presOf" srcId="{5A845AF6-4A1F-4823-8425-202670EB68B7}" destId="{4DF1B1D5-68D7-4DFB-A5A6-0BC860D9653F}" srcOrd="1" destOrd="0" presId="urn:microsoft.com/office/officeart/2005/8/layout/hierarchy5"/>
    <dgm:cxn modelId="{677D84E7-8089-483B-93F6-1BCA69EC5660}" type="presOf" srcId="{07F8EFB4-5219-44EE-B213-DF24E5025890}" destId="{E11724A7-BCBF-4391-A5E7-A5B7E46FF1DB}" srcOrd="0" destOrd="0" presId="urn:microsoft.com/office/officeart/2005/8/layout/hierarchy5"/>
    <dgm:cxn modelId="{81183901-EC1F-402E-96E2-ED6CE9A128AF}" type="presOf" srcId="{9C8A8F3D-CF4B-4534-A629-C03C665C022F}" destId="{8B820791-D576-4F67-A5B6-1A55C7FA6B2C}" srcOrd="0" destOrd="0" presId="urn:microsoft.com/office/officeart/2005/8/layout/hierarchy5"/>
    <dgm:cxn modelId="{C5CB2DC8-AFBD-44CB-8BE4-2B1FAA57A01A}" srcId="{2C917939-7904-4F88-B97B-49FE786B8D11}" destId="{253C21B8-D2DB-4E0B-88CE-1C5FB5A41C27}" srcOrd="3" destOrd="0" parTransId="{09985EF9-D989-4B21-8045-1C0A2277331E}" sibTransId="{F58672A0-B41D-482F-97D9-1E981FD55246}"/>
    <dgm:cxn modelId="{919AECE3-8E0A-4C8C-A40D-EF30F0F8E066}" type="presOf" srcId="{B6D78DEB-16CD-42AF-9167-FC2EAEEDE967}" destId="{FB68389D-35F6-407E-8F50-A6D617567F1E}" srcOrd="1" destOrd="0" presId="urn:microsoft.com/office/officeart/2005/8/layout/hierarchy5"/>
    <dgm:cxn modelId="{1CE25D93-D410-4EA5-BFE9-10F9749A9BC8}" type="presOf" srcId="{9C8A8F3D-CF4B-4534-A629-C03C665C022F}" destId="{6CAFC208-1A90-4BA1-8925-C638B8D79FC1}" srcOrd="1" destOrd="0" presId="urn:microsoft.com/office/officeart/2005/8/layout/hierarchy5"/>
    <dgm:cxn modelId="{CB579717-B0D9-4796-B49C-63813FDCDAAD}" srcId="{E8AC7895-3E4F-4D75-A789-EF5C1E30017B}" destId="{479A7A19-2530-42D7-9D5D-13A0CC1A97C3}" srcOrd="1" destOrd="0" parTransId="{0B6F05B2-E8F5-484B-8BB4-015D3E8FA683}" sibTransId="{E93AA2AB-1018-4158-96D1-762040948800}"/>
    <dgm:cxn modelId="{1FFF2143-2A20-4342-A331-26472DFE7FED}" type="presOf" srcId="{E8AC7895-3E4F-4D75-A789-EF5C1E30017B}" destId="{610AF46C-5A9F-4C8E-A1D1-54F18A14E0A5}" srcOrd="0" destOrd="0" presId="urn:microsoft.com/office/officeart/2005/8/layout/hierarchy5"/>
    <dgm:cxn modelId="{33AD6C5A-7387-48DF-9B29-26A57E56523A}" type="presOf" srcId="{13E23986-5045-4654-96FF-64AB788FEC56}" destId="{EFD45CFE-B4B0-4901-BCCE-72DE474CB186}" srcOrd="1" destOrd="0" presId="urn:microsoft.com/office/officeart/2005/8/layout/hierarchy5"/>
    <dgm:cxn modelId="{390852C0-452A-4DC2-A1DE-1C5CC797C447}" type="presOf" srcId="{81DA5F20-51E4-445E-8FAA-49D1D53FF4AB}" destId="{776462A4-F664-4EC4-B722-291232252A60}" srcOrd="0" destOrd="0" presId="urn:microsoft.com/office/officeart/2005/8/layout/hierarchy5"/>
    <dgm:cxn modelId="{431F7F5C-BBB3-4DD0-BF9E-F0E68CC7AC7F}" srcId="{8596E6A1-0377-4AE6-919A-205A265C7E64}" destId="{81DA5F20-51E4-445E-8FAA-49D1D53FF4AB}" srcOrd="1" destOrd="0" parTransId="{5A845AF6-4A1F-4823-8425-202670EB68B7}" sibTransId="{7B9914F1-415B-41BC-877F-05ED799A39F2}"/>
    <dgm:cxn modelId="{7C8899F1-D6A4-427D-9B89-9FD6FC483DDF}" type="presOf" srcId="{6CDDAD76-7750-49B3-8D5A-833CCACA073F}" destId="{F3B061BE-6873-4404-A637-CA5DDF4073C1}" srcOrd="0" destOrd="0" presId="urn:microsoft.com/office/officeart/2005/8/layout/hierarchy5"/>
    <dgm:cxn modelId="{E70FC7D6-D643-4C41-9223-784E50CD3B82}" srcId="{2C917939-7904-4F88-B97B-49FE786B8D11}" destId="{8596E6A1-0377-4AE6-919A-205A265C7E64}" srcOrd="0" destOrd="0" parTransId="{8EB3C33D-DB40-4A5F-9E76-EAB6D715439F}" sibTransId="{5BE57EA8-80D0-483D-BDC1-37989B8405AC}"/>
    <dgm:cxn modelId="{C4FD1255-5AD7-41D9-AB67-0829F0B93464}" type="presOf" srcId="{479A7A19-2530-42D7-9D5D-13A0CC1A97C3}" destId="{4BD5E7CC-025F-4864-AD49-BB96DA1CF7E9}" srcOrd="0" destOrd="0" presId="urn:microsoft.com/office/officeart/2005/8/layout/hierarchy5"/>
    <dgm:cxn modelId="{81CFD513-04E0-4F37-9D70-6F593D7A7614}" type="presOf" srcId="{30B18DC4-3E51-4689-9288-4D4CD221A5DD}" destId="{A4C9F4CE-F211-49D2-A864-631BAC3941E2}" srcOrd="0" destOrd="0" presId="urn:microsoft.com/office/officeart/2005/8/layout/hierarchy5"/>
    <dgm:cxn modelId="{5509F34F-1CCD-4F65-A572-7423176B9B05}" type="presOf" srcId="{479BC261-DAF4-4629-AA64-B4C056EFAB2D}" destId="{ED4C4418-8625-4B5A-ACE5-74CA7CE8F350}" srcOrd="0" destOrd="0" presId="urn:microsoft.com/office/officeart/2005/8/layout/hierarchy5"/>
    <dgm:cxn modelId="{E8458667-8BAA-444D-BE09-EF4E44F292FB}" type="presOf" srcId="{30B18DC4-3E51-4689-9288-4D4CD221A5DD}" destId="{594F81E3-DD2A-498E-841B-88B47E1D9FD0}" srcOrd="1" destOrd="0" presId="urn:microsoft.com/office/officeart/2005/8/layout/hierarchy5"/>
    <dgm:cxn modelId="{416F44E8-AD26-4AED-8C07-B7A9CEAFAF28}" type="presOf" srcId="{7578F317-AE9D-4EEA-89BD-E7442740AAC2}" destId="{647C3373-92CA-497D-B5A4-F538319EF105}" srcOrd="1" destOrd="0" presId="urn:microsoft.com/office/officeart/2005/8/layout/hierarchy5"/>
    <dgm:cxn modelId="{9C34E370-A082-4A0F-981D-C791092AC009}" srcId="{2C917939-7904-4F88-B97B-49FE786B8D11}" destId="{B6D78DEB-16CD-42AF-9167-FC2EAEEDE967}" srcOrd="2" destOrd="0" parTransId="{7AC110D2-B343-4687-B469-D032404B8AB1}" sibTransId="{D6608C52-E517-417B-AF9E-5D0C22FBBA5F}"/>
    <dgm:cxn modelId="{64326463-9233-4C24-84F8-87687E29652D}" srcId="{8596E6A1-0377-4AE6-919A-205A265C7E64}" destId="{E8AC7895-3E4F-4D75-A789-EF5C1E30017B}" srcOrd="0" destOrd="0" parTransId="{30B18DC4-3E51-4689-9288-4D4CD221A5DD}" sibTransId="{AE2E4B76-3278-49A4-BA84-F64683A67D52}"/>
    <dgm:cxn modelId="{F6934779-8AC9-45EA-BEB6-9D60D426A1CC}" srcId="{2C917939-7904-4F88-B97B-49FE786B8D11}" destId="{9C8A8F3D-CF4B-4534-A629-C03C665C022F}" srcOrd="1" destOrd="0" parTransId="{23E46BBB-7059-4AC2-A495-A7D018E33564}" sibTransId="{A2216203-7DBC-4F77-8741-F94011CA4C36}"/>
    <dgm:cxn modelId="{6E802D38-EC87-4936-8663-5E8160C8AC09}" srcId="{81DA5F20-51E4-445E-8FAA-49D1D53FF4AB}" destId="{0EBE6BAB-7800-4121-919D-1DDCC8D8C0CB}" srcOrd="0" destOrd="0" parTransId="{AF23A1C4-A14D-4468-885C-DE8FB79E965C}" sibTransId="{C4525B90-1C10-4B0D-945D-DD21C8BE03B2}"/>
    <dgm:cxn modelId="{05ED6915-FDEF-43EE-9CDA-20408DBC3D3C}" type="presOf" srcId="{0EBE6BAB-7800-4121-919D-1DDCC8D8C0CB}" destId="{168A7053-52BB-4061-952A-8DB73189B087}" srcOrd="0" destOrd="0" presId="urn:microsoft.com/office/officeart/2005/8/layout/hierarchy5"/>
    <dgm:cxn modelId="{0B9FE27B-AA7A-4BE3-9F93-4C760F3295BF}" type="presOf" srcId="{13E23986-5045-4654-96FF-64AB788FEC56}" destId="{DDCAE5E9-3300-4168-80E4-CE27E8585C90}" srcOrd="0" destOrd="0" presId="urn:microsoft.com/office/officeart/2005/8/layout/hierarchy5"/>
    <dgm:cxn modelId="{322778DD-3008-464A-A4D3-01D0C689E17E}" type="presOf" srcId="{0B6F05B2-E8F5-484B-8BB4-015D3E8FA683}" destId="{C815684F-6865-4F4F-990F-9812824D7586}" srcOrd="1" destOrd="0" presId="urn:microsoft.com/office/officeart/2005/8/layout/hierarchy5"/>
    <dgm:cxn modelId="{ECB51A9F-26F0-4CC8-9E7E-16FEDC61781D}" type="presOf" srcId="{5982433D-77BC-459B-888C-3295B76119E2}" destId="{234D1730-9D54-4C33-8450-5F5AB7E8C891}" srcOrd="1" destOrd="0" presId="urn:microsoft.com/office/officeart/2005/8/layout/hierarchy5"/>
    <dgm:cxn modelId="{DE63B873-5807-4887-BEEE-ECC35D1DE250}" srcId="{E8AC7895-3E4F-4D75-A789-EF5C1E30017B}" destId="{B5FC79D2-C372-4FD3-8853-A17C363C862C}" srcOrd="0" destOrd="0" parTransId="{5982433D-77BC-459B-888C-3295B76119E2}" sibTransId="{C75A74BF-97ED-4560-BC4B-DC93C9921AEA}"/>
    <dgm:cxn modelId="{EF54B896-E14A-459E-A000-2EB2881EF72A}" srcId="{479BC261-DAF4-4629-AA64-B4C056EFAB2D}" destId="{6CDDAD76-7750-49B3-8D5A-833CCACA073F}" srcOrd="1" destOrd="0" parTransId="{13E23986-5045-4654-96FF-64AB788FEC56}" sibTransId="{7A05B476-A2CE-48CF-AC9F-951DFCBFCC0F}"/>
    <dgm:cxn modelId="{0CA718ED-8FCC-4253-94E6-3C1F098CDCA6}" type="presOf" srcId="{5982433D-77BC-459B-888C-3295B76119E2}" destId="{5FEF7D41-5112-4C4D-B917-B9529C5F1385}" srcOrd="0" destOrd="0" presId="urn:microsoft.com/office/officeart/2005/8/layout/hierarchy5"/>
    <dgm:cxn modelId="{D8549CC9-A793-4F19-ADC5-D29BFA5EEE0E}" type="presOf" srcId="{B6D78DEB-16CD-42AF-9167-FC2EAEEDE967}" destId="{A603F75E-74E6-488A-8818-4CED8A8F160D}" srcOrd="0" destOrd="0" presId="urn:microsoft.com/office/officeart/2005/8/layout/hierarchy5"/>
    <dgm:cxn modelId="{3EDA7DF6-D85E-4214-8614-244206FF1DDD}" type="presOf" srcId="{8596E6A1-0377-4AE6-919A-205A265C7E64}" destId="{C7520CF7-AAC7-4F02-B3E5-9A1E24AA26F5}" srcOrd="0" destOrd="0" presId="urn:microsoft.com/office/officeart/2005/8/layout/hierarchy5"/>
    <dgm:cxn modelId="{D6331E1F-91AD-4BDD-A26E-A39F6C92F130}" type="presOf" srcId="{AF23A1C4-A14D-4468-885C-DE8FB79E965C}" destId="{80113F73-A954-4465-886A-EB42D15D039C}" srcOrd="1" destOrd="0" presId="urn:microsoft.com/office/officeart/2005/8/layout/hierarchy5"/>
    <dgm:cxn modelId="{E07CACD5-A938-425C-93DF-61CA13A873E3}" srcId="{479BC261-DAF4-4629-AA64-B4C056EFAB2D}" destId="{FA5BCB2C-C5B5-4B10-9309-890A57244480}" srcOrd="0" destOrd="0" parTransId="{7578F317-AE9D-4EEA-89BD-E7442740AAC2}" sibTransId="{74C38138-E4F7-4A6F-8E9F-4B47A624EF7D}"/>
    <dgm:cxn modelId="{C498AA4A-D193-49F0-9342-409C56328F3B}" type="presOf" srcId="{AF23A1C4-A14D-4468-885C-DE8FB79E965C}" destId="{16DF7FA3-E6EC-46FB-AAD5-486940F29FB8}" srcOrd="0" destOrd="0" presId="urn:microsoft.com/office/officeart/2005/8/layout/hierarchy5"/>
    <dgm:cxn modelId="{551B2D7D-C5AF-474C-AE70-ED11DCDEC24D}" type="presOf" srcId="{7578F317-AE9D-4EEA-89BD-E7442740AAC2}" destId="{E5A1CF06-5BCD-480F-89A0-3A67A75B67AC}" srcOrd="0" destOrd="0" presId="urn:microsoft.com/office/officeart/2005/8/layout/hierarchy5"/>
    <dgm:cxn modelId="{458F554A-6EF5-46B4-AB3C-B028A088D193}" srcId="{8596E6A1-0377-4AE6-919A-205A265C7E64}" destId="{479BC261-DAF4-4629-AA64-B4C056EFAB2D}" srcOrd="2" destOrd="0" parTransId="{07F8EFB4-5219-44EE-B213-DF24E5025890}" sibTransId="{54E7EAAC-D3A4-4F18-8FC0-2E0ED8E7B391}"/>
    <dgm:cxn modelId="{E9276DFF-C98B-44B3-9330-85029351FB3D}" type="presOf" srcId="{2C917939-7904-4F88-B97B-49FE786B8D11}" destId="{6C3316D6-8FCF-4E0C-9036-AB4DDE433A6A}" srcOrd="0" destOrd="0" presId="urn:microsoft.com/office/officeart/2005/8/layout/hierarchy5"/>
    <dgm:cxn modelId="{035FCBC8-13A7-4EA9-A570-7F9FF9CB0322}" type="presOf" srcId="{B5FC79D2-C372-4FD3-8853-A17C363C862C}" destId="{BA551113-5299-4B4B-BD25-BDC75502DA62}" srcOrd="0" destOrd="0" presId="urn:microsoft.com/office/officeart/2005/8/layout/hierarchy5"/>
    <dgm:cxn modelId="{11F36DE2-4967-4845-B9BA-77D40561A7F8}" type="presOf" srcId="{FA5BCB2C-C5B5-4B10-9309-890A57244480}" destId="{4DFC410C-8516-43FC-ABC8-E31618BC5CA8}" srcOrd="0" destOrd="0" presId="urn:microsoft.com/office/officeart/2005/8/layout/hierarchy5"/>
    <dgm:cxn modelId="{CD3C121D-BE90-43AE-B91E-D48AB201D534}" type="presParOf" srcId="{6C3316D6-8FCF-4E0C-9036-AB4DDE433A6A}" destId="{B9C80650-1FA6-4812-A0B7-53E6A5EF0852}" srcOrd="0" destOrd="0" presId="urn:microsoft.com/office/officeart/2005/8/layout/hierarchy5"/>
    <dgm:cxn modelId="{2589E160-2255-40EB-BDA5-961A320FCB83}" type="presParOf" srcId="{B9C80650-1FA6-4812-A0B7-53E6A5EF0852}" destId="{C2AE682C-05F8-4CEB-87DD-F05D45D7950E}" srcOrd="0" destOrd="0" presId="urn:microsoft.com/office/officeart/2005/8/layout/hierarchy5"/>
    <dgm:cxn modelId="{591F9164-BA3A-49FB-8252-6A2E8AB4597A}" type="presParOf" srcId="{B9C80650-1FA6-4812-A0B7-53E6A5EF0852}" destId="{E3CE167E-F4F8-435D-B48D-B7C1F8F122D7}" srcOrd="1" destOrd="0" presId="urn:microsoft.com/office/officeart/2005/8/layout/hierarchy5"/>
    <dgm:cxn modelId="{D74D3A8E-7EF1-4F8C-B079-1BE470CE5575}" type="presParOf" srcId="{E3CE167E-F4F8-435D-B48D-B7C1F8F122D7}" destId="{3928BAE8-DF29-4758-87B5-91DB51289FED}" srcOrd="0" destOrd="0" presId="urn:microsoft.com/office/officeart/2005/8/layout/hierarchy5"/>
    <dgm:cxn modelId="{D3C1BC24-35E9-41CC-A3B9-985C7B682453}" type="presParOf" srcId="{3928BAE8-DF29-4758-87B5-91DB51289FED}" destId="{C7520CF7-AAC7-4F02-B3E5-9A1E24AA26F5}" srcOrd="0" destOrd="0" presId="urn:microsoft.com/office/officeart/2005/8/layout/hierarchy5"/>
    <dgm:cxn modelId="{B33C1F7D-1AE2-4C77-BA15-2A2391DD8A59}" type="presParOf" srcId="{3928BAE8-DF29-4758-87B5-91DB51289FED}" destId="{0D0487B1-8730-4C79-A816-5DED01DA177D}" srcOrd="1" destOrd="0" presId="urn:microsoft.com/office/officeart/2005/8/layout/hierarchy5"/>
    <dgm:cxn modelId="{C325631B-C594-48E4-9621-D2CF79197A7F}" type="presParOf" srcId="{0D0487B1-8730-4C79-A816-5DED01DA177D}" destId="{A4C9F4CE-F211-49D2-A864-631BAC3941E2}" srcOrd="0" destOrd="0" presId="urn:microsoft.com/office/officeart/2005/8/layout/hierarchy5"/>
    <dgm:cxn modelId="{F052AC57-1080-465D-9B2D-0FE127032E71}" type="presParOf" srcId="{A4C9F4CE-F211-49D2-A864-631BAC3941E2}" destId="{594F81E3-DD2A-498E-841B-88B47E1D9FD0}" srcOrd="0" destOrd="0" presId="urn:microsoft.com/office/officeart/2005/8/layout/hierarchy5"/>
    <dgm:cxn modelId="{81BBA96F-E9A5-4CB9-8FA5-79EA18AE8CE5}" type="presParOf" srcId="{0D0487B1-8730-4C79-A816-5DED01DA177D}" destId="{157E6C6B-BF0C-4DC8-981D-A300817F6059}" srcOrd="1" destOrd="0" presId="urn:microsoft.com/office/officeart/2005/8/layout/hierarchy5"/>
    <dgm:cxn modelId="{74043BB6-27A4-4893-AFC5-5B58FE706419}" type="presParOf" srcId="{157E6C6B-BF0C-4DC8-981D-A300817F6059}" destId="{610AF46C-5A9F-4C8E-A1D1-54F18A14E0A5}" srcOrd="0" destOrd="0" presId="urn:microsoft.com/office/officeart/2005/8/layout/hierarchy5"/>
    <dgm:cxn modelId="{FB82FDA1-FAFE-4EFF-89B0-77F014F70E83}" type="presParOf" srcId="{157E6C6B-BF0C-4DC8-981D-A300817F6059}" destId="{DD97B3A7-0315-4DA3-8C9B-EC7A489F99CE}" srcOrd="1" destOrd="0" presId="urn:microsoft.com/office/officeart/2005/8/layout/hierarchy5"/>
    <dgm:cxn modelId="{D4BE403E-3565-48D8-839C-4379351E30B4}" type="presParOf" srcId="{DD97B3A7-0315-4DA3-8C9B-EC7A489F99CE}" destId="{5FEF7D41-5112-4C4D-B917-B9529C5F1385}" srcOrd="0" destOrd="0" presId="urn:microsoft.com/office/officeart/2005/8/layout/hierarchy5"/>
    <dgm:cxn modelId="{15AE9554-D0DA-47AE-B3A3-1A7880C2FF19}" type="presParOf" srcId="{5FEF7D41-5112-4C4D-B917-B9529C5F1385}" destId="{234D1730-9D54-4C33-8450-5F5AB7E8C891}" srcOrd="0" destOrd="0" presId="urn:microsoft.com/office/officeart/2005/8/layout/hierarchy5"/>
    <dgm:cxn modelId="{DD575AF8-D0DC-4304-B7B5-2641269CA9A9}" type="presParOf" srcId="{DD97B3A7-0315-4DA3-8C9B-EC7A489F99CE}" destId="{287602BF-23D5-4E52-B945-CB857CB29C7A}" srcOrd="1" destOrd="0" presId="urn:microsoft.com/office/officeart/2005/8/layout/hierarchy5"/>
    <dgm:cxn modelId="{3687D1A9-2D9D-4380-9839-118E583786CC}" type="presParOf" srcId="{287602BF-23D5-4E52-B945-CB857CB29C7A}" destId="{BA551113-5299-4B4B-BD25-BDC75502DA62}" srcOrd="0" destOrd="0" presId="urn:microsoft.com/office/officeart/2005/8/layout/hierarchy5"/>
    <dgm:cxn modelId="{2F8A37CC-5D99-44A5-87E0-3D6781D50516}" type="presParOf" srcId="{287602BF-23D5-4E52-B945-CB857CB29C7A}" destId="{EDE64E8B-6108-4869-8E1C-E671B309996D}" srcOrd="1" destOrd="0" presId="urn:microsoft.com/office/officeart/2005/8/layout/hierarchy5"/>
    <dgm:cxn modelId="{347680E5-8FAB-4A9E-902D-C4AF6027BAE4}" type="presParOf" srcId="{DD97B3A7-0315-4DA3-8C9B-EC7A489F99CE}" destId="{037C6405-1729-496C-98C5-235BFF2B7AD2}" srcOrd="2" destOrd="0" presId="urn:microsoft.com/office/officeart/2005/8/layout/hierarchy5"/>
    <dgm:cxn modelId="{7E998A83-7B28-4CA8-BB7C-BE72C9F58234}" type="presParOf" srcId="{037C6405-1729-496C-98C5-235BFF2B7AD2}" destId="{C815684F-6865-4F4F-990F-9812824D7586}" srcOrd="0" destOrd="0" presId="urn:microsoft.com/office/officeart/2005/8/layout/hierarchy5"/>
    <dgm:cxn modelId="{644DB24E-F8CC-4225-9A54-0A76A73F3E17}" type="presParOf" srcId="{DD97B3A7-0315-4DA3-8C9B-EC7A489F99CE}" destId="{3B5B9047-E6FF-4758-BDAF-EB0290CE132E}" srcOrd="3" destOrd="0" presId="urn:microsoft.com/office/officeart/2005/8/layout/hierarchy5"/>
    <dgm:cxn modelId="{8BD74652-0F78-453D-A025-0C7EBDDFB4C3}" type="presParOf" srcId="{3B5B9047-E6FF-4758-BDAF-EB0290CE132E}" destId="{4BD5E7CC-025F-4864-AD49-BB96DA1CF7E9}" srcOrd="0" destOrd="0" presId="urn:microsoft.com/office/officeart/2005/8/layout/hierarchy5"/>
    <dgm:cxn modelId="{658BFA68-CB96-490C-B4B2-DCC6AA82AF01}" type="presParOf" srcId="{3B5B9047-E6FF-4758-BDAF-EB0290CE132E}" destId="{B22BAACD-D037-4739-897C-A40E82F538C2}" srcOrd="1" destOrd="0" presId="urn:microsoft.com/office/officeart/2005/8/layout/hierarchy5"/>
    <dgm:cxn modelId="{FE35145C-018C-423C-8136-CF6A1729C0F1}" type="presParOf" srcId="{0D0487B1-8730-4C79-A816-5DED01DA177D}" destId="{6D075E30-8601-46ED-9B00-EEB80F3C1B55}" srcOrd="2" destOrd="0" presId="urn:microsoft.com/office/officeart/2005/8/layout/hierarchy5"/>
    <dgm:cxn modelId="{52B69F10-29B9-406D-8385-E75451D2C4BB}" type="presParOf" srcId="{6D075E30-8601-46ED-9B00-EEB80F3C1B55}" destId="{4DF1B1D5-68D7-4DFB-A5A6-0BC860D9653F}" srcOrd="0" destOrd="0" presId="urn:microsoft.com/office/officeart/2005/8/layout/hierarchy5"/>
    <dgm:cxn modelId="{F26F5F03-6E3D-43D0-9242-AD709273846A}" type="presParOf" srcId="{0D0487B1-8730-4C79-A816-5DED01DA177D}" destId="{BD84B3C1-65F4-4F27-87E2-5F7708D7E5A1}" srcOrd="3" destOrd="0" presId="urn:microsoft.com/office/officeart/2005/8/layout/hierarchy5"/>
    <dgm:cxn modelId="{E7F3DA1C-E3BF-4174-869E-EC5807FDFE0B}" type="presParOf" srcId="{BD84B3C1-65F4-4F27-87E2-5F7708D7E5A1}" destId="{776462A4-F664-4EC4-B722-291232252A60}" srcOrd="0" destOrd="0" presId="urn:microsoft.com/office/officeart/2005/8/layout/hierarchy5"/>
    <dgm:cxn modelId="{8EC62A07-B7A0-4109-9BB1-AF8B117A140F}" type="presParOf" srcId="{BD84B3C1-65F4-4F27-87E2-5F7708D7E5A1}" destId="{C3EA39BC-EA0B-4F0E-A778-513F8BAAFABD}" srcOrd="1" destOrd="0" presId="urn:microsoft.com/office/officeart/2005/8/layout/hierarchy5"/>
    <dgm:cxn modelId="{535E8713-F07F-4C8A-9441-ACCCD594F955}" type="presParOf" srcId="{C3EA39BC-EA0B-4F0E-A778-513F8BAAFABD}" destId="{16DF7FA3-E6EC-46FB-AAD5-486940F29FB8}" srcOrd="0" destOrd="0" presId="urn:microsoft.com/office/officeart/2005/8/layout/hierarchy5"/>
    <dgm:cxn modelId="{C2CBEB65-27DE-43D8-BA27-F28DD2FE8D44}" type="presParOf" srcId="{16DF7FA3-E6EC-46FB-AAD5-486940F29FB8}" destId="{80113F73-A954-4465-886A-EB42D15D039C}" srcOrd="0" destOrd="0" presId="urn:microsoft.com/office/officeart/2005/8/layout/hierarchy5"/>
    <dgm:cxn modelId="{493D1B21-5E99-48C5-9C0D-817609E8EA1F}" type="presParOf" srcId="{C3EA39BC-EA0B-4F0E-A778-513F8BAAFABD}" destId="{1E383ABA-511F-4D10-A1EE-5424C0B7FBAB}" srcOrd="1" destOrd="0" presId="urn:microsoft.com/office/officeart/2005/8/layout/hierarchy5"/>
    <dgm:cxn modelId="{AFEC8FF4-1CCB-43CD-A775-A725A032D187}" type="presParOf" srcId="{1E383ABA-511F-4D10-A1EE-5424C0B7FBAB}" destId="{168A7053-52BB-4061-952A-8DB73189B087}" srcOrd="0" destOrd="0" presId="urn:microsoft.com/office/officeart/2005/8/layout/hierarchy5"/>
    <dgm:cxn modelId="{3B85F2EE-FEC8-403C-AC83-233D7C0BC954}" type="presParOf" srcId="{1E383ABA-511F-4D10-A1EE-5424C0B7FBAB}" destId="{C1CA7837-8D55-4045-8CA5-27FA776EBF18}" srcOrd="1" destOrd="0" presId="urn:microsoft.com/office/officeart/2005/8/layout/hierarchy5"/>
    <dgm:cxn modelId="{A79DD66F-9BCD-427F-B8ED-126CF2B1784F}" type="presParOf" srcId="{0D0487B1-8730-4C79-A816-5DED01DA177D}" destId="{E11724A7-BCBF-4391-A5E7-A5B7E46FF1DB}" srcOrd="4" destOrd="0" presId="urn:microsoft.com/office/officeart/2005/8/layout/hierarchy5"/>
    <dgm:cxn modelId="{B7D725DB-E784-419F-9D02-D789B9EA080B}" type="presParOf" srcId="{E11724A7-BCBF-4391-A5E7-A5B7E46FF1DB}" destId="{4287F1D0-AA00-4F72-A4EE-2EFCDE2DE4C6}" srcOrd="0" destOrd="0" presId="urn:microsoft.com/office/officeart/2005/8/layout/hierarchy5"/>
    <dgm:cxn modelId="{03548F20-AEFC-4701-9F7B-8DC88B852D3B}" type="presParOf" srcId="{0D0487B1-8730-4C79-A816-5DED01DA177D}" destId="{158DF9EA-E067-40DA-847C-6ED4EAC3F478}" srcOrd="5" destOrd="0" presId="urn:microsoft.com/office/officeart/2005/8/layout/hierarchy5"/>
    <dgm:cxn modelId="{D2A93AEE-24B6-4B38-96C3-9C5F324E0100}" type="presParOf" srcId="{158DF9EA-E067-40DA-847C-6ED4EAC3F478}" destId="{ED4C4418-8625-4B5A-ACE5-74CA7CE8F350}" srcOrd="0" destOrd="0" presId="urn:microsoft.com/office/officeart/2005/8/layout/hierarchy5"/>
    <dgm:cxn modelId="{FF5DBD1E-ED1B-4416-854A-A86025D33A70}" type="presParOf" srcId="{158DF9EA-E067-40DA-847C-6ED4EAC3F478}" destId="{76BD9780-E933-4DA4-AFB4-54718E553D6C}" srcOrd="1" destOrd="0" presId="urn:microsoft.com/office/officeart/2005/8/layout/hierarchy5"/>
    <dgm:cxn modelId="{BFDA20A7-FFCE-4C5F-BD1A-45E89D131DC7}" type="presParOf" srcId="{76BD9780-E933-4DA4-AFB4-54718E553D6C}" destId="{E5A1CF06-5BCD-480F-89A0-3A67A75B67AC}" srcOrd="0" destOrd="0" presId="urn:microsoft.com/office/officeart/2005/8/layout/hierarchy5"/>
    <dgm:cxn modelId="{BE2F0777-D71A-4FF4-A61E-658A7CA80AFD}" type="presParOf" srcId="{E5A1CF06-5BCD-480F-89A0-3A67A75B67AC}" destId="{647C3373-92CA-497D-B5A4-F538319EF105}" srcOrd="0" destOrd="0" presId="urn:microsoft.com/office/officeart/2005/8/layout/hierarchy5"/>
    <dgm:cxn modelId="{A2933E01-94E3-47D6-BC20-046BDA3E628C}" type="presParOf" srcId="{76BD9780-E933-4DA4-AFB4-54718E553D6C}" destId="{CF16DAFE-48D0-431A-9324-9A3F8CB34DEE}" srcOrd="1" destOrd="0" presId="urn:microsoft.com/office/officeart/2005/8/layout/hierarchy5"/>
    <dgm:cxn modelId="{AC9B1BA8-4761-44FE-B52A-F1BECFA70561}" type="presParOf" srcId="{CF16DAFE-48D0-431A-9324-9A3F8CB34DEE}" destId="{4DFC410C-8516-43FC-ABC8-E31618BC5CA8}" srcOrd="0" destOrd="0" presId="urn:microsoft.com/office/officeart/2005/8/layout/hierarchy5"/>
    <dgm:cxn modelId="{08697F2E-1ACA-4811-B6A0-C3043CC815DC}" type="presParOf" srcId="{CF16DAFE-48D0-431A-9324-9A3F8CB34DEE}" destId="{065430B3-7F96-467E-A137-A3CBC053253A}" srcOrd="1" destOrd="0" presId="urn:microsoft.com/office/officeart/2005/8/layout/hierarchy5"/>
    <dgm:cxn modelId="{61BC3B83-A6F2-4E7B-91BB-670BAABFE58C}" type="presParOf" srcId="{76BD9780-E933-4DA4-AFB4-54718E553D6C}" destId="{DDCAE5E9-3300-4168-80E4-CE27E8585C90}" srcOrd="2" destOrd="0" presId="urn:microsoft.com/office/officeart/2005/8/layout/hierarchy5"/>
    <dgm:cxn modelId="{89887587-BAF0-4DCD-82E2-651FCC2FF921}" type="presParOf" srcId="{DDCAE5E9-3300-4168-80E4-CE27E8585C90}" destId="{EFD45CFE-B4B0-4901-BCCE-72DE474CB186}" srcOrd="0" destOrd="0" presId="urn:microsoft.com/office/officeart/2005/8/layout/hierarchy5"/>
    <dgm:cxn modelId="{3564FF7D-8C46-4261-A889-5F0EF80BD505}" type="presParOf" srcId="{76BD9780-E933-4DA4-AFB4-54718E553D6C}" destId="{B9BADC83-F061-4086-908D-A73B6EDF95BE}" srcOrd="3" destOrd="0" presId="urn:microsoft.com/office/officeart/2005/8/layout/hierarchy5"/>
    <dgm:cxn modelId="{3E75DDF0-BB4B-4C19-8556-E95A8F0ED545}" type="presParOf" srcId="{B9BADC83-F061-4086-908D-A73B6EDF95BE}" destId="{F3B061BE-6873-4404-A637-CA5DDF4073C1}" srcOrd="0" destOrd="0" presId="urn:microsoft.com/office/officeart/2005/8/layout/hierarchy5"/>
    <dgm:cxn modelId="{9FF71F26-81D2-4ED1-8674-15523C87DE8E}" type="presParOf" srcId="{B9BADC83-F061-4086-908D-A73B6EDF95BE}" destId="{D026B65A-189E-4A97-9303-3B17CCBE52FC}" srcOrd="1" destOrd="0" presId="urn:microsoft.com/office/officeart/2005/8/layout/hierarchy5"/>
    <dgm:cxn modelId="{F88EDB03-3571-4E39-92DF-34B0A5A54F6E}" type="presParOf" srcId="{6C3316D6-8FCF-4E0C-9036-AB4DDE433A6A}" destId="{F06ACE70-0C6B-4064-ABCA-4630FFC72CF3}" srcOrd="1" destOrd="0" presId="urn:microsoft.com/office/officeart/2005/8/layout/hierarchy5"/>
    <dgm:cxn modelId="{5A353489-B55C-4448-9F43-F0A6282026C3}" type="presParOf" srcId="{F06ACE70-0C6B-4064-ABCA-4630FFC72CF3}" destId="{1EF745FB-BB59-4BCE-A5F6-CC95D66ADDFD}" srcOrd="0" destOrd="0" presId="urn:microsoft.com/office/officeart/2005/8/layout/hierarchy5"/>
    <dgm:cxn modelId="{3210830A-5373-4E17-A952-6BFD8FDFB67B}" type="presParOf" srcId="{1EF745FB-BB59-4BCE-A5F6-CC95D66ADDFD}" destId="{8B820791-D576-4F67-A5B6-1A55C7FA6B2C}" srcOrd="0" destOrd="0" presId="urn:microsoft.com/office/officeart/2005/8/layout/hierarchy5"/>
    <dgm:cxn modelId="{7E3049A5-BFE0-4A11-A5BF-3785D6E98C80}" type="presParOf" srcId="{1EF745FB-BB59-4BCE-A5F6-CC95D66ADDFD}" destId="{6CAFC208-1A90-4BA1-8925-C638B8D79FC1}" srcOrd="1" destOrd="0" presId="urn:microsoft.com/office/officeart/2005/8/layout/hierarchy5"/>
    <dgm:cxn modelId="{EA68C348-5801-4841-A4E4-0925681EC391}" type="presParOf" srcId="{F06ACE70-0C6B-4064-ABCA-4630FFC72CF3}" destId="{D6CADFFF-80E0-4E8B-B968-B0D52685BC83}" srcOrd="1" destOrd="0" presId="urn:microsoft.com/office/officeart/2005/8/layout/hierarchy5"/>
    <dgm:cxn modelId="{BAC9F79B-F47F-4B0C-88B7-B9B27C00EDAE}" type="presParOf" srcId="{D6CADFFF-80E0-4E8B-B968-B0D52685BC83}" destId="{34E6B40E-AD1F-43DC-9415-C41AD2FCE4C0}" srcOrd="0" destOrd="0" presId="urn:microsoft.com/office/officeart/2005/8/layout/hierarchy5"/>
    <dgm:cxn modelId="{91B60A9A-0C40-4B99-8348-1C7EBEC49EF3}" type="presParOf" srcId="{F06ACE70-0C6B-4064-ABCA-4630FFC72CF3}" destId="{5A3F8D7D-3800-4ABD-B9F5-72C838EBAEB1}" srcOrd="2" destOrd="0" presId="urn:microsoft.com/office/officeart/2005/8/layout/hierarchy5"/>
    <dgm:cxn modelId="{0F3F5252-74C6-4999-B1AE-2DC518A69729}" type="presParOf" srcId="{5A3F8D7D-3800-4ABD-B9F5-72C838EBAEB1}" destId="{A603F75E-74E6-488A-8818-4CED8A8F160D}" srcOrd="0" destOrd="0" presId="urn:microsoft.com/office/officeart/2005/8/layout/hierarchy5"/>
    <dgm:cxn modelId="{64577FC8-BCE3-4A47-BDEA-B70C8DA38471}" type="presParOf" srcId="{5A3F8D7D-3800-4ABD-B9F5-72C838EBAEB1}" destId="{FB68389D-35F6-407E-8F50-A6D617567F1E}" srcOrd="1" destOrd="0" presId="urn:microsoft.com/office/officeart/2005/8/layout/hierarchy5"/>
    <dgm:cxn modelId="{B99EFE1C-9875-487F-9466-28553C40E36F}" type="presParOf" srcId="{F06ACE70-0C6B-4064-ABCA-4630FFC72CF3}" destId="{BC6875EF-D588-4AA6-9CBD-02B4972118FB}" srcOrd="3" destOrd="0" presId="urn:microsoft.com/office/officeart/2005/8/layout/hierarchy5"/>
    <dgm:cxn modelId="{9DC90993-A4E1-41C0-8142-94CED47524D6}" type="presParOf" srcId="{BC6875EF-D588-4AA6-9CBD-02B4972118FB}" destId="{34981477-EC5A-4815-8ACB-904D2344D519}" srcOrd="0" destOrd="0" presId="urn:microsoft.com/office/officeart/2005/8/layout/hierarchy5"/>
    <dgm:cxn modelId="{2853EA31-5CF3-467A-8CC4-865AB60DA0C0}" type="presParOf" srcId="{F06ACE70-0C6B-4064-ABCA-4630FFC72CF3}" destId="{344E491F-846C-437A-BC20-0AFEB4FF85C2}" srcOrd="4" destOrd="0" presId="urn:microsoft.com/office/officeart/2005/8/layout/hierarchy5"/>
    <dgm:cxn modelId="{D79FF391-F52F-4B1D-A24C-CF0E228432B1}" type="presParOf" srcId="{344E491F-846C-437A-BC20-0AFEB4FF85C2}" destId="{BB7F07E6-76E1-4770-9046-CE9398EF1C2E}" srcOrd="0" destOrd="0" presId="urn:microsoft.com/office/officeart/2005/8/layout/hierarchy5"/>
    <dgm:cxn modelId="{5709B0DB-B0D2-48F9-899D-C3F256EFC43C}" type="presParOf" srcId="{344E491F-846C-437A-BC20-0AFEB4FF85C2}" destId="{282D3E65-AA2D-4F62-9ED4-7010F31DF536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E3656CF-9EEB-44AD-824F-BDE83C1832F6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C359E09F-61E6-440B-93E2-048B13DF94EE}">
      <dgm:prSet phldrT="[Текст]" custT="1"/>
      <dgm:spPr>
        <a:xfrm>
          <a:off x="1955175" y="1086007"/>
          <a:ext cx="5810463" cy="1910186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indent="180000" algn="l">
            <a:spcAft>
              <a:spcPts val="300"/>
            </a:spcAft>
          </a:pPr>
          <a:r>
            <a:rPr lang="ru-RU" sz="8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. Цель: увеличить ожидаемую продолжительность здоровой жизни до 67 лет</a:t>
          </a:r>
        </a:p>
        <a:p>
          <a:pPr indent="180000" algn="l">
            <a:spcAft>
              <a:spcPts val="300"/>
            </a:spcAft>
          </a:pPr>
          <a:r>
            <a:rPr lang="ru-RU" sz="8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               1.1. Целевой показатель: снижение смертности населения старше трудоспособного возраста (на 1000 человек населения соответствующего возраста)</a:t>
          </a:r>
        </a:p>
        <a:p>
          <a:pPr indent="180000" algn="l">
            <a:spcAft>
              <a:spcPts val="300"/>
            </a:spcAft>
          </a:pPr>
          <a:r>
            <a:rPr lang="ru-RU" sz="8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2. Целевой показатель: увеличение суммарного коэффициента рождаемости (до 1,7 детей на 1 женщину)</a:t>
          </a:r>
        </a:p>
        <a:p>
          <a:pPr indent="180000" algn="l">
            <a:spcAft>
              <a:spcPts val="300"/>
            </a:spcAft>
          </a:pPr>
          <a:r>
            <a:rPr lang="ru-RU" sz="8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3. Цель: увеличение доли граждан, ведущих здоровый образ жизни</a:t>
          </a:r>
        </a:p>
        <a:p>
          <a:pPr indent="180000" algn="l">
            <a:spcAft>
              <a:spcPts val="300"/>
            </a:spcAft>
          </a:pPr>
          <a:r>
            <a:rPr lang="ru-RU" sz="8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               3.1. Целевой показатель: Обращаемость в медицинские организации по вопросам здорового образа жизни (тысяч человек)</a:t>
          </a:r>
        </a:p>
        <a:p>
          <a:pPr indent="180000" algn="l">
            <a:spcAft>
              <a:spcPts val="300"/>
            </a:spcAft>
          </a:pPr>
          <a:r>
            <a:rPr lang="ru-RU" sz="8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              3.2. Число лиц, которым рекомендованы индивидуальные планы по здоровому образу жизни (паспорта здоровья), в центрах здоровья (млн. человек)</a:t>
          </a:r>
        </a:p>
        <a:p>
          <a:pPr indent="180000" algn="l">
            <a:spcAft>
              <a:spcPts val="300"/>
            </a:spcAft>
          </a:pPr>
          <a:r>
            <a:rPr lang="ru-RU" sz="8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4. Целевой показатель: Доля граждан, систематически занимающихся физической культурой и спортом, %.</a:t>
          </a:r>
        </a:p>
      </dgm:t>
    </dgm:pt>
    <dgm:pt modelId="{E186E240-468A-4DDB-B5AA-50BF6DB5EEDC}" type="parTrans" cxnId="{F8DB54BA-C48C-4A8E-97D8-6BA917E4FF18}">
      <dgm:prSet/>
      <dgm:spPr>
        <a:xfrm>
          <a:off x="4814686" y="827029"/>
          <a:ext cx="91440" cy="258977"/>
        </a:xfr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311674B-C3D1-4C32-9591-7A7C28BBBF6C}" type="sibTrans" cxnId="{F8DB54BA-C48C-4A8E-97D8-6BA917E4FF18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B68BB57-3217-415B-BF54-5146DA505533}">
      <dgm:prSet phldrT="[Текст]" custT="1"/>
      <dgm:spPr>
        <a:xfrm>
          <a:off x="6391" y="3231730"/>
          <a:ext cx="1242834" cy="560800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7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ФП 1. Финансовая поддержка семей при рождении детей  </a:t>
          </a:r>
        </a:p>
      </dgm:t>
    </dgm:pt>
    <dgm:pt modelId="{17331182-842A-4443-A9AA-5493D7CF6DA7}" type="parTrans" cxnId="{F21662AE-D072-43FA-9B0C-C6D12867D4E1}">
      <dgm:prSet/>
      <dgm:spPr>
        <a:xfrm>
          <a:off x="627808" y="2996194"/>
          <a:ext cx="4232598" cy="235536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3F5C87-4684-4257-9E79-8C9C0D945DD7}" type="sibTrans" cxnId="{F21662AE-D072-43FA-9B0C-C6D12867D4E1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1FF3AB4-5479-4DCF-8F01-E1E8FDB14AF2}">
      <dgm:prSet phldrT="[Текст]" custT="1"/>
      <dgm:spPr>
        <a:xfrm>
          <a:off x="1674236" y="3231730"/>
          <a:ext cx="1987353" cy="1024531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7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ФП 2. Содействие занятости женщин - создание условий дошкольного образования для детей в возрасте до трех лет </a:t>
          </a:r>
          <a:r>
            <a:rPr lang="ru-RU" sz="7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Содействие занятости женщин - доступность дошкольного образования для детей в возрасте до трех лет)</a:t>
          </a:r>
        </a:p>
      </dgm:t>
    </dgm:pt>
    <dgm:pt modelId="{FC258DDE-4ABE-4E38-A021-52E55BC30517}" type="parTrans" cxnId="{888B00E0-F7CB-47A8-B28B-417EA529DD18}">
      <dgm:prSet/>
      <dgm:spPr>
        <a:xfrm>
          <a:off x="2667913" y="2996194"/>
          <a:ext cx="2192493" cy="235536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F6932D-ECF6-4C75-995F-F8973AF945F4}" type="sibTrans" cxnId="{888B00E0-F7CB-47A8-B28B-417EA529DD18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1BC2727-3454-4015-AB0B-BD68A20B154F}">
      <dgm:prSet phldrT="[Текст]" custT="1"/>
      <dgm:spPr>
        <a:xfrm>
          <a:off x="3897125" y="3231730"/>
          <a:ext cx="1973490" cy="683727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7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ФП 3. Разработка и реализация программы системной поддержки и повышения качества жизни граждан старшего поколения                                </a:t>
          </a:r>
          <a:r>
            <a:rPr lang="ru-RU" sz="7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Старшее поколение)</a:t>
          </a:r>
        </a:p>
      </dgm:t>
    </dgm:pt>
    <dgm:pt modelId="{D8BC6AD7-DE6B-48F6-8FA6-79F47E3102F6}" type="parTrans" cxnId="{476A2A02-A46F-4A54-BA99-DABCFAFB3876}">
      <dgm:prSet/>
      <dgm:spPr>
        <a:xfrm>
          <a:off x="4814686" y="2996194"/>
          <a:ext cx="91440" cy="235536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608587-0044-4F81-ADF7-8B547B7A4B34}" type="sibTrans" cxnId="{476A2A02-A46F-4A54-BA99-DABCFAFB3876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2D771EB-8DD3-410D-9030-0B006A5FE5BE}">
      <dgm:prSet custT="1"/>
      <dgm:spPr>
        <a:xfrm>
          <a:off x="6106152" y="3231730"/>
          <a:ext cx="1633016" cy="909511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7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ФП 4 .Формирование системы мотивации граждан к здоровому образу жизни, включая здоровое питание и отказ от вредных привычек </a:t>
          </a:r>
          <a:r>
            <a:rPr lang="ru-RU" sz="7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Укрепление общественного здоровья)</a:t>
          </a:r>
        </a:p>
      </dgm:t>
    </dgm:pt>
    <dgm:pt modelId="{AD810BB4-7A26-48F5-AB6C-F618E28F77B6}" type="parTrans" cxnId="{DE27E777-F29E-4665-BBAE-F6328902EA33}">
      <dgm:prSet/>
      <dgm:spPr>
        <a:xfrm>
          <a:off x="4860406" y="2996194"/>
          <a:ext cx="2062253" cy="235536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9A794D0-4A8D-4A3C-8B7D-EE04A280EB0D}" type="sibTrans" cxnId="{DE27E777-F29E-4665-BBAE-F6328902EA33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5AC4F3A-978F-430F-B0B4-7D1E4101BDF0}">
      <dgm:prSet custT="1"/>
      <dgm:spPr>
        <a:xfrm>
          <a:off x="8147726" y="3231730"/>
          <a:ext cx="1521137" cy="1569691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7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. ФП 5. Создание для всех категорий и групп населения условий для занятий физической культурой и спортом, массовым спортом, в том числе повышение уровня обеспеченности населения объектами спорта, а также подготовка спортивного резерва.                                         </a:t>
          </a:r>
          <a:r>
            <a:rPr lang="ru-RU" sz="7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Спорт - норма жизни).</a:t>
          </a:r>
        </a:p>
      </dgm:t>
    </dgm:pt>
    <dgm:pt modelId="{E9F33C4D-92C2-4D9F-9DDF-7EC59C57F143}" type="parTrans" cxnId="{5D489E41-EA1B-4A7F-99D5-AB217EE7144D}">
      <dgm:prSet/>
      <dgm:spPr>
        <a:xfrm>
          <a:off x="4860406" y="2996194"/>
          <a:ext cx="4047887" cy="235536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EDC075-0347-4133-8CAF-EA91AC479EB6}" type="sibTrans" cxnId="{5D489E41-EA1B-4A7F-99D5-AB217EE7144D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D4F1E9B-37BE-4F29-A2D4-C6C7E96D088F}">
      <dgm:prSet custT="1"/>
      <dgm:spPr>
        <a:xfrm>
          <a:off x="317099" y="4028067"/>
          <a:ext cx="1121600" cy="560800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6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Задача 1.  Внедрение механизма финансовой поддержки семей при рождении детей</a:t>
          </a:r>
        </a:p>
      </dgm:t>
    </dgm:pt>
    <dgm:pt modelId="{9B640ABA-0275-4804-9836-BA627EB61EA2}" type="parTrans" cxnId="{F6728416-16EE-4839-9336-6B83E5FFB02F}">
      <dgm:prSet/>
      <dgm:spPr>
        <a:xfrm>
          <a:off x="130674" y="3792530"/>
          <a:ext cx="186425" cy="515936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DC7AE1-3F95-4B3E-BA8A-7BBF9C6F9706}" type="sibTrans" cxnId="{F6728416-16EE-4839-9336-6B83E5FFB02F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0E7775-6B1C-4FC6-A060-35065E4B5E6C}">
      <dgm:prSet custT="1"/>
      <dgm:spPr>
        <a:xfrm>
          <a:off x="2171074" y="4491798"/>
          <a:ext cx="1770009" cy="816329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6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Задача: Создание условий для осуществления трудовой деятельности женщин, имеющих детей, включая достижение 100-процентной доступности (2021 год) дошкольного образования для детей в возрасте до трех лет</a:t>
          </a:r>
        </a:p>
      </dgm:t>
    </dgm:pt>
    <dgm:pt modelId="{FFDF1C89-C636-4D7E-B5DF-7B439D135864}" type="parTrans" cxnId="{04E0FE67-818A-407A-A578-C98475B5FC81}">
      <dgm:prSet/>
      <dgm:spPr>
        <a:xfrm>
          <a:off x="1872971" y="4256262"/>
          <a:ext cx="298102" cy="643700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2B53B6-BF4A-42F7-9524-E144873BF5B9}" type="sibTrans" cxnId="{04E0FE67-818A-407A-A578-C98475B5FC81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02E546-F778-4171-9ABC-B2F792AA153E}">
      <dgm:prSet custT="1"/>
      <dgm:spPr>
        <a:xfrm>
          <a:off x="4390498" y="4150994"/>
          <a:ext cx="1345102" cy="635145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6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Задача: Разработка и реализация программы системной поддержки и повышения качества жизни граждан старшего поколения.</a:t>
          </a:r>
        </a:p>
      </dgm:t>
    </dgm:pt>
    <dgm:pt modelId="{059D43F7-E434-4DC2-90FB-B2B85FF4C961}" type="parTrans" cxnId="{CCDC36CC-3000-4C86-828A-BAEB8C0C8352}">
      <dgm:prSet/>
      <dgm:spPr>
        <a:xfrm>
          <a:off x="4094474" y="3915458"/>
          <a:ext cx="296023" cy="553108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90D596-E1D1-4BBB-8CE9-F5CD02A29F19}" type="sibTrans" cxnId="{CCDC36CC-3000-4C86-828A-BAEB8C0C8352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8FE5638-0792-468C-95EE-429D5078466F}">
      <dgm:prSet custT="1"/>
      <dgm:spPr>
        <a:xfrm>
          <a:off x="6520249" y="4265706"/>
          <a:ext cx="1397783" cy="691006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6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Задача: "Формирование системы мотивации граждан к здоровому образу жизни, включая здоровое питание и отказ от вредных привычек"</a:t>
          </a:r>
        </a:p>
      </dgm:t>
    </dgm:pt>
    <dgm:pt modelId="{1881348B-592C-4DBF-B5F7-B13F74C6E429}" type="parTrans" cxnId="{AC3BC6FB-14DF-4FC8-805D-EA3BAA2FB609}">
      <dgm:prSet/>
      <dgm:spPr>
        <a:xfrm>
          <a:off x="6269453" y="4141242"/>
          <a:ext cx="250796" cy="469967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C3FE54C-F789-444F-B1CE-DD7B9851825B}" type="sibTrans" cxnId="{AC3BC6FB-14DF-4FC8-805D-EA3BAA2FB609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1049364-D46A-48BF-A4DD-E371A80D3562}">
      <dgm:prSet custT="1"/>
      <dgm:spPr>
        <a:xfrm>
          <a:off x="8528010" y="5036958"/>
          <a:ext cx="1318845" cy="1347978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6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. Задача: "Создание для всех категорий и групп населения условий для занятий физической культурой и спортом, массовым спортом, в том числе повышение уровня обеспеченности населения объектами спорта, и подготовка спортивного резерва"</a:t>
          </a:r>
        </a:p>
      </dgm:t>
    </dgm:pt>
    <dgm:pt modelId="{37858206-F049-4D56-809A-18B9E4CF1365}" type="parTrans" cxnId="{61A43E89-7456-4610-BB21-0F03C4E9CD66}">
      <dgm:prSet/>
      <dgm:spPr>
        <a:xfrm>
          <a:off x="8299839" y="4801421"/>
          <a:ext cx="228170" cy="909525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AACCD0E-7CE0-426E-AB5C-F00C68128DAB}" type="sibTrans" cxnId="{61A43E89-7456-4610-BB21-0F03C4E9CD66}">
      <dgm:prSet/>
      <dgm:spPr/>
      <dgm:t>
        <a:bodyPr/>
        <a:lstStyle/>
        <a:p>
          <a:endParaRPr lang="ru-RU" sz="20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07A840-C5D9-48E3-B018-F03F5F9DE49F}">
      <dgm:prSet custT="1"/>
      <dgm:spPr>
        <a:xfrm>
          <a:off x="2668619" y="266229"/>
          <a:ext cx="4383574" cy="560800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ru-RU" sz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.Национальный проект "Демография"</a:t>
          </a:r>
          <a:endParaRPr lang="ru-RU" sz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3DA134A3-F011-4BFB-A866-47B6C4AA79AB}" type="parTrans" cxnId="{E7E9AD66-6C1F-4D85-8BD6-717CF4453F1F}">
      <dgm:prSet/>
      <dgm:spPr/>
      <dgm:t>
        <a:bodyPr/>
        <a:lstStyle/>
        <a:p>
          <a:endParaRPr lang="ru-RU" sz="1400"/>
        </a:p>
      </dgm:t>
    </dgm:pt>
    <dgm:pt modelId="{925A1E38-40CC-4E03-9D05-327CF9962A29}" type="sibTrans" cxnId="{E7E9AD66-6C1F-4D85-8BD6-717CF4453F1F}">
      <dgm:prSet/>
      <dgm:spPr/>
      <dgm:t>
        <a:bodyPr/>
        <a:lstStyle/>
        <a:p>
          <a:endParaRPr lang="ru-RU" sz="1400"/>
        </a:p>
      </dgm:t>
    </dgm:pt>
    <dgm:pt modelId="{9CF9FBE5-4C63-4710-B6CB-76AF69B22535}" type="pres">
      <dgm:prSet presAssocID="{0E3656CF-9EEB-44AD-824F-BDE83C1832F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0B78DD3-DC27-4A4B-8A9A-2D5DE64B5140}" type="pres">
      <dgm:prSet presAssocID="{7907A840-C5D9-48E3-B018-F03F5F9DE49F}" presName="hierRoot1" presStyleCnt="0">
        <dgm:presLayoutVars>
          <dgm:hierBranch val="init"/>
        </dgm:presLayoutVars>
      </dgm:prSet>
      <dgm:spPr/>
    </dgm:pt>
    <dgm:pt modelId="{D02FDCA1-58F4-45C3-88B2-CAD8C0B51515}" type="pres">
      <dgm:prSet presAssocID="{7907A840-C5D9-48E3-B018-F03F5F9DE49F}" presName="rootComposite1" presStyleCnt="0"/>
      <dgm:spPr/>
    </dgm:pt>
    <dgm:pt modelId="{742B412D-B4F3-4D9F-8661-85C60E3B29A3}" type="pres">
      <dgm:prSet presAssocID="{7907A840-C5D9-48E3-B018-F03F5F9DE49F}" presName="rootText1" presStyleLbl="node0" presStyleIdx="0" presStyleCnt="1" custScaleX="390832" custLinFactNeighborX="2031" custLinFactNeighborY="-4180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5C5DC11B-90F9-4397-B431-8F239A6B9EDB}" type="pres">
      <dgm:prSet presAssocID="{7907A840-C5D9-48E3-B018-F03F5F9DE49F}" presName="rootConnector1" presStyleLbl="node1" presStyleIdx="0" presStyleCnt="0"/>
      <dgm:spPr/>
      <dgm:t>
        <a:bodyPr/>
        <a:lstStyle/>
        <a:p>
          <a:endParaRPr lang="ru-RU"/>
        </a:p>
      </dgm:t>
    </dgm:pt>
    <dgm:pt modelId="{CE4CBE3E-FCE0-4ABA-9797-4506D2BCDFEB}" type="pres">
      <dgm:prSet presAssocID="{7907A840-C5D9-48E3-B018-F03F5F9DE49F}" presName="hierChild2" presStyleCnt="0"/>
      <dgm:spPr/>
    </dgm:pt>
    <dgm:pt modelId="{77768FE5-B4AF-4DCC-B2AE-548C22CE6689}" type="pres">
      <dgm:prSet presAssocID="{E186E240-468A-4DDB-B5AA-50BF6DB5EEDC}" presName="Name37" presStyleLbl="parChTrans1D2" presStyleIdx="0" presStyleCnt="1"/>
      <dgm:spPr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8977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40AC3950-56D6-4D43-B1D7-3E0CAA750131}" type="pres">
      <dgm:prSet presAssocID="{C359E09F-61E6-440B-93E2-048B13DF94EE}" presName="hierRoot2" presStyleCnt="0">
        <dgm:presLayoutVars>
          <dgm:hierBranch val="init"/>
        </dgm:presLayoutVars>
      </dgm:prSet>
      <dgm:spPr/>
    </dgm:pt>
    <dgm:pt modelId="{85087FC8-5BC0-42B2-86D8-77DEC96F5754}" type="pres">
      <dgm:prSet presAssocID="{C359E09F-61E6-440B-93E2-048B13DF94EE}" presName="rootComposite" presStyleCnt="0"/>
      <dgm:spPr/>
    </dgm:pt>
    <dgm:pt modelId="{68FF758A-B512-4DE6-A5D3-B18085E7EF9D}" type="pres">
      <dgm:prSet presAssocID="{C359E09F-61E6-440B-93E2-048B13DF94EE}" presName="rootText" presStyleLbl="node2" presStyleIdx="0" presStyleCnt="1" custScaleX="518051" custScaleY="313722" custLinFactNeighborX="2031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F99B3C8C-D57B-4F35-B731-3E1C36F14D5B}" type="pres">
      <dgm:prSet presAssocID="{C359E09F-61E6-440B-93E2-048B13DF94EE}" presName="rootConnector" presStyleLbl="node2" presStyleIdx="0" presStyleCnt="1"/>
      <dgm:spPr/>
      <dgm:t>
        <a:bodyPr/>
        <a:lstStyle/>
        <a:p>
          <a:endParaRPr lang="ru-RU"/>
        </a:p>
      </dgm:t>
    </dgm:pt>
    <dgm:pt modelId="{B0D96FE2-FFF7-4E90-9C44-2C574A2343D5}" type="pres">
      <dgm:prSet presAssocID="{C359E09F-61E6-440B-93E2-048B13DF94EE}" presName="hierChild4" presStyleCnt="0"/>
      <dgm:spPr/>
    </dgm:pt>
    <dgm:pt modelId="{A8141856-A76F-489B-9403-BA75BAC0EA3C}" type="pres">
      <dgm:prSet presAssocID="{17331182-842A-4443-A9AA-5493D7CF6DA7}" presName="Name37" presStyleLbl="parChTrans1D3" presStyleIdx="0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4232598" y="0"/>
              </a:moveTo>
              <a:lnTo>
                <a:pt x="4232598" y="117768"/>
              </a:lnTo>
              <a:lnTo>
                <a:pt x="0" y="117768"/>
              </a:lnTo>
              <a:lnTo>
                <a:pt x="0" y="235536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777C468B-ADFD-4770-9240-BDA4628EFD37}" type="pres">
      <dgm:prSet presAssocID="{DB68BB57-3217-415B-BF54-5146DA505533}" presName="hierRoot2" presStyleCnt="0">
        <dgm:presLayoutVars>
          <dgm:hierBranch val="r"/>
        </dgm:presLayoutVars>
      </dgm:prSet>
      <dgm:spPr/>
    </dgm:pt>
    <dgm:pt modelId="{EF800957-7FF5-4ABE-843B-B46C7225C86D}" type="pres">
      <dgm:prSet presAssocID="{DB68BB57-3217-415B-BF54-5146DA505533}" presName="rootComposite" presStyleCnt="0"/>
      <dgm:spPr/>
    </dgm:pt>
    <dgm:pt modelId="{802FC5DF-CB5E-4C29-801E-9EA98500263E}" type="pres">
      <dgm:prSet presAssocID="{DB68BB57-3217-415B-BF54-5146DA505533}" presName="rootText" presStyleLbl="node3" presStyleIdx="0" presStyleCnt="5" custScaleX="110809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7A9102B3-68B2-41F1-A422-30972E3CD221}" type="pres">
      <dgm:prSet presAssocID="{DB68BB57-3217-415B-BF54-5146DA505533}" presName="rootConnector" presStyleLbl="node3" presStyleIdx="0" presStyleCnt="5"/>
      <dgm:spPr/>
      <dgm:t>
        <a:bodyPr/>
        <a:lstStyle/>
        <a:p>
          <a:endParaRPr lang="ru-RU"/>
        </a:p>
      </dgm:t>
    </dgm:pt>
    <dgm:pt modelId="{D60EBB38-2109-4AED-B581-10039AA506AD}" type="pres">
      <dgm:prSet presAssocID="{DB68BB57-3217-415B-BF54-5146DA505533}" presName="hierChild4" presStyleCnt="0"/>
      <dgm:spPr/>
    </dgm:pt>
    <dgm:pt modelId="{DD30EAD7-E584-4BB9-B088-480FF05CC931}" type="pres">
      <dgm:prSet presAssocID="{9B640ABA-0275-4804-9836-BA627EB61EA2}" presName="Name50" presStyleLbl="parChTrans1D4" presStyleIdx="0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5936"/>
              </a:lnTo>
              <a:lnTo>
                <a:pt x="186425" y="515936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18160353-C58B-423A-A4B5-C5488683C737}" type="pres">
      <dgm:prSet presAssocID="{DD4F1E9B-37BE-4F29-A2D4-C6C7E96D088F}" presName="hierRoot2" presStyleCnt="0">
        <dgm:presLayoutVars>
          <dgm:hierBranch val="init"/>
        </dgm:presLayoutVars>
      </dgm:prSet>
      <dgm:spPr/>
    </dgm:pt>
    <dgm:pt modelId="{1353F4EA-9D37-4A16-B836-7F5AB5C8E471}" type="pres">
      <dgm:prSet presAssocID="{DD4F1E9B-37BE-4F29-A2D4-C6C7E96D088F}" presName="rootComposite" presStyleCnt="0"/>
      <dgm:spPr/>
    </dgm:pt>
    <dgm:pt modelId="{8B6E652C-2DE5-49F3-B496-42F9EF49AEA6}" type="pres">
      <dgm:prSet presAssocID="{DD4F1E9B-37BE-4F29-A2D4-C6C7E96D088F}" presName="rootText" presStyleLbl="node4" presStyleIdx="0" presStyleCnt="5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5FD36622-A5E1-436C-B3A0-1795DB2119A3}" type="pres">
      <dgm:prSet presAssocID="{DD4F1E9B-37BE-4F29-A2D4-C6C7E96D088F}" presName="rootConnector" presStyleLbl="node4" presStyleIdx="0" presStyleCnt="5"/>
      <dgm:spPr/>
      <dgm:t>
        <a:bodyPr/>
        <a:lstStyle/>
        <a:p>
          <a:endParaRPr lang="ru-RU"/>
        </a:p>
      </dgm:t>
    </dgm:pt>
    <dgm:pt modelId="{CEC38469-034A-4EB0-9A96-9748835F46E3}" type="pres">
      <dgm:prSet presAssocID="{DD4F1E9B-37BE-4F29-A2D4-C6C7E96D088F}" presName="hierChild4" presStyleCnt="0"/>
      <dgm:spPr/>
    </dgm:pt>
    <dgm:pt modelId="{3FA466DE-BF80-4D10-95BD-145FD69797EB}" type="pres">
      <dgm:prSet presAssocID="{DD4F1E9B-37BE-4F29-A2D4-C6C7E96D088F}" presName="hierChild5" presStyleCnt="0"/>
      <dgm:spPr/>
    </dgm:pt>
    <dgm:pt modelId="{F391624C-BADB-45AB-A26A-7711B7F61ADF}" type="pres">
      <dgm:prSet presAssocID="{DB68BB57-3217-415B-BF54-5146DA505533}" presName="hierChild5" presStyleCnt="0"/>
      <dgm:spPr/>
    </dgm:pt>
    <dgm:pt modelId="{1AAD963D-62F9-45C0-B86A-A96AA4F796CC}" type="pres">
      <dgm:prSet presAssocID="{FC258DDE-4ABE-4E38-A021-52E55BC30517}" presName="Name37" presStyleLbl="parChTrans1D3" presStyleIdx="1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2192493" y="0"/>
              </a:moveTo>
              <a:lnTo>
                <a:pt x="2192493" y="117768"/>
              </a:lnTo>
              <a:lnTo>
                <a:pt x="0" y="117768"/>
              </a:lnTo>
              <a:lnTo>
                <a:pt x="0" y="235536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E626D9A3-B5E2-4A61-8D08-2FC65AED5B60}" type="pres">
      <dgm:prSet presAssocID="{91FF3AB4-5479-4DCF-8F01-E1E8FDB14AF2}" presName="hierRoot2" presStyleCnt="0">
        <dgm:presLayoutVars>
          <dgm:hierBranch val="r"/>
        </dgm:presLayoutVars>
      </dgm:prSet>
      <dgm:spPr/>
    </dgm:pt>
    <dgm:pt modelId="{C141E763-C08C-4929-8CB7-DDFA16A1EAFA}" type="pres">
      <dgm:prSet presAssocID="{91FF3AB4-5479-4DCF-8F01-E1E8FDB14AF2}" presName="rootComposite" presStyleCnt="0"/>
      <dgm:spPr/>
    </dgm:pt>
    <dgm:pt modelId="{6D97B1B3-48A8-436E-A1E3-B792C66C5E6B}" type="pres">
      <dgm:prSet presAssocID="{91FF3AB4-5479-4DCF-8F01-E1E8FDB14AF2}" presName="rootText" presStyleLbl="node3" presStyleIdx="1" presStyleCnt="5" custScaleX="177189" custScaleY="182691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AA532163-D4C6-4255-9E1D-0DFA82155EBD}" type="pres">
      <dgm:prSet presAssocID="{91FF3AB4-5479-4DCF-8F01-E1E8FDB14AF2}" presName="rootConnector" presStyleLbl="node3" presStyleIdx="1" presStyleCnt="5"/>
      <dgm:spPr/>
      <dgm:t>
        <a:bodyPr/>
        <a:lstStyle/>
        <a:p>
          <a:endParaRPr lang="ru-RU"/>
        </a:p>
      </dgm:t>
    </dgm:pt>
    <dgm:pt modelId="{934AD213-B197-470B-81CA-ACB7EB30BF5F}" type="pres">
      <dgm:prSet presAssocID="{91FF3AB4-5479-4DCF-8F01-E1E8FDB14AF2}" presName="hierChild4" presStyleCnt="0"/>
      <dgm:spPr/>
    </dgm:pt>
    <dgm:pt modelId="{4C267C7D-7B53-4795-AE15-1989089B036D}" type="pres">
      <dgm:prSet presAssocID="{FFDF1C89-C636-4D7E-B5DF-7B439D135864}" presName="Name50" presStyleLbl="parChTrans1D4" presStyleIdx="1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43700"/>
              </a:lnTo>
              <a:lnTo>
                <a:pt x="298102" y="643700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693B582E-545D-426E-AFCF-91AA9695A680}" type="pres">
      <dgm:prSet presAssocID="{CE0E7775-6B1C-4FC6-A060-35065E4B5E6C}" presName="hierRoot2" presStyleCnt="0">
        <dgm:presLayoutVars>
          <dgm:hierBranch val="init"/>
        </dgm:presLayoutVars>
      </dgm:prSet>
      <dgm:spPr/>
    </dgm:pt>
    <dgm:pt modelId="{BED85C06-6725-425A-A67F-C64CD2302267}" type="pres">
      <dgm:prSet presAssocID="{CE0E7775-6B1C-4FC6-A060-35065E4B5E6C}" presName="rootComposite" presStyleCnt="0"/>
      <dgm:spPr/>
    </dgm:pt>
    <dgm:pt modelId="{7D787169-E5EF-4C43-B5FA-DC25E3A1319E}" type="pres">
      <dgm:prSet presAssocID="{CE0E7775-6B1C-4FC6-A060-35065E4B5E6C}" presName="rootText" presStyleLbl="node4" presStyleIdx="1" presStyleCnt="5" custScaleX="157811" custScaleY="145565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8888EF3-8072-4FB3-941E-E6C686CDF02F}" type="pres">
      <dgm:prSet presAssocID="{CE0E7775-6B1C-4FC6-A060-35065E4B5E6C}" presName="rootConnector" presStyleLbl="node4" presStyleIdx="1" presStyleCnt="5"/>
      <dgm:spPr/>
      <dgm:t>
        <a:bodyPr/>
        <a:lstStyle/>
        <a:p>
          <a:endParaRPr lang="ru-RU"/>
        </a:p>
      </dgm:t>
    </dgm:pt>
    <dgm:pt modelId="{30BF15B8-F8AB-4ACB-AAE9-68250F74F00F}" type="pres">
      <dgm:prSet presAssocID="{CE0E7775-6B1C-4FC6-A060-35065E4B5E6C}" presName="hierChild4" presStyleCnt="0"/>
      <dgm:spPr/>
    </dgm:pt>
    <dgm:pt modelId="{B0D527CC-7834-4B43-BE8A-FA36F145B20C}" type="pres">
      <dgm:prSet presAssocID="{CE0E7775-6B1C-4FC6-A060-35065E4B5E6C}" presName="hierChild5" presStyleCnt="0"/>
      <dgm:spPr/>
    </dgm:pt>
    <dgm:pt modelId="{E3C44CAE-6A92-4E57-B843-3E2B4073809C}" type="pres">
      <dgm:prSet presAssocID="{91FF3AB4-5479-4DCF-8F01-E1E8FDB14AF2}" presName="hierChild5" presStyleCnt="0"/>
      <dgm:spPr/>
    </dgm:pt>
    <dgm:pt modelId="{FBD4F5AA-BA54-4741-9EDC-931DE2CF74D8}" type="pres">
      <dgm:prSet presAssocID="{D8BC6AD7-DE6B-48F6-8FA6-79F47E3102F6}" presName="Name37" presStyleLbl="parChTrans1D3" presStyleIdx="2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17768"/>
              </a:lnTo>
              <a:lnTo>
                <a:pt x="69183" y="117768"/>
              </a:lnTo>
              <a:lnTo>
                <a:pt x="69183" y="235536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AEC3D951-C205-44FD-88E5-D9546D851203}" type="pres">
      <dgm:prSet presAssocID="{01BC2727-3454-4015-AB0B-BD68A20B154F}" presName="hierRoot2" presStyleCnt="0">
        <dgm:presLayoutVars>
          <dgm:hierBranch val="r"/>
        </dgm:presLayoutVars>
      </dgm:prSet>
      <dgm:spPr/>
    </dgm:pt>
    <dgm:pt modelId="{D2F94AC2-30A8-45AA-BB3E-157C8FE1FC1A}" type="pres">
      <dgm:prSet presAssocID="{01BC2727-3454-4015-AB0B-BD68A20B154F}" presName="rootComposite" presStyleCnt="0"/>
      <dgm:spPr/>
    </dgm:pt>
    <dgm:pt modelId="{1626C111-1968-4BBD-A9DE-BE57313BA2B6}" type="pres">
      <dgm:prSet presAssocID="{01BC2727-3454-4015-AB0B-BD68A20B154F}" presName="rootText" presStyleLbl="node3" presStyleIdx="2" presStyleCnt="5" custScaleX="175953" custScaleY="121920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AF99CE3D-4176-4975-9FC0-7ABBEBC3D4E9}" type="pres">
      <dgm:prSet presAssocID="{01BC2727-3454-4015-AB0B-BD68A20B154F}" presName="rootConnector" presStyleLbl="node3" presStyleIdx="2" presStyleCnt="5"/>
      <dgm:spPr/>
      <dgm:t>
        <a:bodyPr/>
        <a:lstStyle/>
        <a:p>
          <a:endParaRPr lang="ru-RU"/>
        </a:p>
      </dgm:t>
    </dgm:pt>
    <dgm:pt modelId="{4ED3C553-91E8-4A50-9E30-33760CC6FB10}" type="pres">
      <dgm:prSet presAssocID="{01BC2727-3454-4015-AB0B-BD68A20B154F}" presName="hierChild4" presStyleCnt="0"/>
      <dgm:spPr/>
    </dgm:pt>
    <dgm:pt modelId="{33CE3869-1CF6-4A0F-AECA-101723F6C0D8}" type="pres">
      <dgm:prSet presAssocID="{059D43F7-E434-4DC2-90FB-B2B85FF4C961}" presName="Name50" presStyleLbl="parChTrans1D4" presStyleIdx="2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53108"/>
              </a:lnTo>
              <a:lnTo>
                <a:pt x="296023" y="553108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EBBEC7AA-43B9-42BC-BF5E-CA44B4348AE5}" type="pres">
      <dgm:prSet presAssocID="{BD02E546-F778-4171-9ABC-B2F792AA153E}" presName="hierRoot2" presStyleCnt="0">
        <dgm:presLayoutVars>
          <dgm:hierBranch val="r"/>
        </dgm:presLayoutVars>
      </dgm:prSet>
      <dgm:spPr/>
    </dgm:pt>
    <dgm:pt modelId="{491F1E5C-73E4-4C60-802A-730FDA6DD223}" type="pres">
      <dgm:prSet presAssocID="{BD02E546-F778-4171-9ABC-B2F792AA153E}" presName="rootComposite" presStyleCnt="0"/>
      <dgm:spPr/>
    </dgm:pt>
    <dgm:pt modelId="{AD9C297C-E5FA-41E0-8644-162DE5FAE5E4}" type="pres">
      <dgm:prSet presAssocID="{BD02E546-F778-4171-9ABC-B2F792AA153E}" presName="rootText" presStyleLbl="node4" presStyleIdx="2" presStyleCnt="5" custScaleX="119927" custScaleY="113257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36F1FDC-E1C4-46B9-B6DD-976D34AE7B05}" type="pres">
      <dgm:prSet presAssocID="{BD02E546-F778-4171-9ABC-B2F792AA153E}" presName="rootConnector" presStyleLbl="node4" presStyleIdx="2" presStyleCnt="5"/>
      <dgm:spPr/>
      <dgm:t>
        <a:bodyPr/>
        <a:lstStyle/>
        <a:p>
          <a:endParaRPr lang="ru-RU"/>
        </a:p>
      </dgm:t>
    </dgm:pt>
    <dgm:pt modelId="{C88F27BF-A09E-42CB-9CAB-CAE8B40029AA}" type="pres">
      <dgm:prSet presAssocID="{BD02E546-F778-4171-9ABC-B2F792AA153E}" presName="hierChild4" presStyleCnt="0"/>
      <dgm:spPr/>
    </dgm:pt>
    <dgm:pt modelId="{D88C6CD1-75A5-4BF0-842B-B19ADA10FA9A}" type="pres">
      <dgm:prSet presAssocID="{BD02E546-F778-4171-9ABC-B2F792AA153E}" presName="hierChild5" presStyleCnt="0"/>
      <dgm:spPr/>
    </dgm:pt>
    <dgm:pt modelId="{8FB8DE26-E0F5-4308-8E6C-186C95ECA27C}" type="pres">
      <dgm:prSet presAssocID="{01BC2727-3454-4015-AB0B-BD68A20B154F}" presName="hierChild5" presStyleCnt="0"/>
      <dgm:spPr/>
    </dgm:pt>
    <dgm:pt modelId="{7B2989AC-1DAC-4DBB-88EA-59EE01564165}" type="pres">
      <dgm:prSet presAssocID="{AD810BB4-7A26-48F5-AB6C-F618E28F77B6}" presName="Name37" presStyleLbl="parChTrans1D3" presStyleIdx="3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7768"/>
              </a:lnTo>
              <a:lnTo>
                <a:pt x="2062253" y="117768"/>
              </a:lnTo>
              <a:lnTo>
                <a:pt x="2062253" y="235536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534A48F7-12D1-4984-8EC2-C1FD36092C4B}" type="pres">
      <dgm:prSet presAssocID="{62D771EB-8DD3-410D-9030-0B006A5FE5BE}" presName="hierRoot2" presStyleCnt="0">
        <dgm:presLayoutVars>
          <dgm:hierBranch val="r"/>
        </dgm:presLayoutVars>
      </dgm:prSet>
      <dgm:spPr/>
    </dgm:pt>
    <dgm:pt modelId="{5E72ACB8-1037-44F0-8D7E-ADD050D36467}" type="pres">
      <dgm:prSet presAssocID="{62D771EB-8DD3-410D-9030-0B006A5FE5BE}" presName="rootComposite" presStyleCnt="0"/>
      <dgm:spPr/>
    </dgm:pt>
    <dgm:pt modelId="{65041BFD-1845-4B8A-877C-E39B635A23BD}" type="pres">
      <dgm:prSet presAssocID="{62D771EB-8DD3-410D-9030-0B006A5FE5BE}" presName="rootText" presStyleLbl="node3" presStyleIdx="3" presStyleCnt="5" custScaleX="145597" custScaleY="162181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3FE92CC-EA6F-47FF-BE9C-6F1F88BB54B2}" type="pres">
      <dgm:prSet presAssocID="{62D771EB-8DD3-410D-9030-0B006A5FE5BE}" presName="rootConnector" presStyleLbl="node3" presStyleIdx="3" presStyleCnt="5"/>
      <dgm:spPr/>
      <dgm:t>
        <a:bodyPr/>
        <a:lstStyle/>
        <a:p>
          <a:endParaRPr lang="ru-RU"/>
        </a:p>
      </dgm:t>
    </dgm:pt>
    <dgm:pt modelId="{B5192253-A499-4E7A-9FD8-EECD7A86A4E0}" type="pres">
      <dgm:prSet presAssocID="{62D771EB-8DD3-410D-9030-0B006A5FE5BE}" presName="hierChild4" presStyleCnt="0"/>
      <dgm:spPr/>
    </dgm:pt>
    <dgm:pt modelId="{5D1A391A-B8E5-4A3A-BB8C-A9DF235C9CA6}" type="pres">
      <dgm:prSet presAssocID="{1881348B-592C-4DBF-B5F7-B13F74C6E429}" presName="Name50" presStyleLbl="parChTrans1D4" presStyleIdx="3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69967"/>
              </a:lnTo>
              <a:lnTo>
                <a:pt x="250796" y="469967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E4E35B30-BC56-48FE-805F-6E017F3D1506}" type="pres">
      <dgm:prSet presAssocID="{D8FE5638-0792-468C-95EE-429D5078466F}" presName="hierRoot2" presStyleCnt="0">
        <dgm:presLayoutVars>
          <dgm:hierBranch val="r"/>
        </dgm:presLayoutVars>
      </dgm:prSet>
      <dgm:spPr/>
    </dgm:pt>
    <dgm:pt modelId="{A7B07F1F-483F-4EA1-AD8A-B7E81A4730E9}" type="pres">
      <dgm:prSet presAssocID="{D8FE5638-0792-468C-95EE-429D5078466F}" presName="rootComposite" presStyleCnt="0"/>
      <dgm:spPr/>
    </dgm:pt>
    <dgm:pt modelId="{349D05F1-4B65-4C2A-B025-32483E96B8C3}" type="pres">
      <dgm:prSet presAssocID="{D8FE5638-0792-468C-95EE-429D5078466F}" presName="rootText" presStyleLbl="node4" presStyleIdx="3" presStyleCnt="5" custScaleX="124624" custScaleY="123218" custLinFactNeighborX="521" custLinFactNeighborY="-19806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7F7CE5FD-3996-4666-AFAC-A322E48155AC}" type="pres">
      <dgm:prSet presAssocID="{D8FE5638-0792-468C-95EE-429D5078466F}" presName="rootConnector" presStyleLbl="node4" presStyleIdx="3" presStyleCnt="5"/>
      <dgm:spPr/>
      <dgm:t>
        <a:bodyPr/>
        <a:lstStyle/>
        <a:p>
          <a:endParaRPr lang="ru-RU"/>
        </a:p>
      </dgm:t>
    </dgm:pt>
    <dgm:pt modelId="{202C436D-10A3-4469-B087-C1DEB3EE8C31}" type="pres">
      <dgm:prSet presAssocID="{D8FE5638-0792-468C-95EE-429D5078466F}" presName="hierChild4" presStyleCnt="0"/>
      <dgm:spPr/>
    </dgm:pt>
    <dgm:pt modelId="{5CD0E6A4-C2EA-4CE7-BD00-0272170540D5}" type="pres">
      <dgm:prSet presAssocID="{D8FE5638-0792-468C-95EE-429D5078466F}" presName="hierChild5" presStyleCnt="0"/>
      <dgm:spPr/>
    </dgm:pt>
    <dgm:pt modelId="{7027603C-9844-4F41-A21A-E05392710043}" type="pres">
      <dgm:prSet presAssocID="{62D771EB-8DD3-410D-9030-0B006A5FE5BE}" presName="hierChild5" presStyleCnt="0"/>
      <dgm:spPr/>
    </dgm:pt>
    <dgm:pt modelId="{76732503-0141-46AD-86AC-49BBA12AAB56}" type="pres">
      <dgm:prSet presAssocID="{E9F33C4D-92C2-4D9F-9DDF-7EC59C57F143}" presName="Name37" presStyleLbl="parChTrans1D3" presStyleIdx="4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7768"/>
              </a:lnTo>
              <a:lnTo>
                <a:pt x="4047887" y="117768"/>
              </a:lnTo>
              <a:lnTo>
                <a:pt x="4047887" y="235536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65119065-7A4D-4BFF-8798-4B7BB0198E29}" type="pres">
      <dgm:prSet presAssocID="{85AC4F3A-978F-430F-B0B4-7D1E4101BDF0}" presName="hierRoot2" presStyleCnt="0">
        <dgm:presLayoutVars>
          <dgm:hierBranch val="r"/>
        </dgm:presLayoutVars>
      </dgm:prSet>
      <dgm:spPr/>
    </dgm:pt>
    <dgm:pt modelId="{5E831D29-5D3B-4DBA-BEB8-E920252B1ABC}" type="pres">
      <dgm:prSet presAssocID="{85AC4F3A-978F-430F-B0B4-7D1E4101BDF0}" presName="rootComposite" presStyleCnt="0"/>
      <dgm:spPr/>
    </dgm:pt>
    <dgm:pt modelId="{06AFB2B5-0BBE-486E-8670-A6CEF7662762}" type="pres">
      <dgm:prSet presAssocID="{85AC4F3A-978F-430F-B0B4-7D1E4101BDF0}" presName="rootText" presStyleLbl="node3" presStyleIdx="4" presStyleCnt="5" custScaleX="135622" custScaleY="231114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EDAFF006-2F02-4097-810C-F92E734311DB}" type="pres">
      <dgm:prSet presAssocID="{85AC4F3A-978F-430F-B0B4-7D1E4101BDF0}" presName="rootConnector" presStyleLbl="node3" presStyleIdx="4" presStyleCnt="5"/>
      <dgm:spPr/>
      <dgm:t>
        <a:bodyPr/>
        <a:lstStyle/>
        <a:p>
          <a:endParaRPr lang="ru-RU"/>
        </a:p>
      </dgm:t>
    </dgm:pt>
    <dgm:pt modelId="{4B6E96DE-B58F-4132-AABB-D63F57ECA5CF}" type="pres">
      <dgm:prSet presAssocID="{85AC4F3A-978F-430F-B0B4-7D1E4101BDF0}" presName="hierChild4" presStyleCnt="0"/>
      <dgm:spPr/>
    </dgm:pt>
    <dgm:pt modelId="{AB838E88-B68A-4AD8-A5B0-0DB2DD6FD601}" type="pres">
      <dgm:prSet presAssocID="{37858206-F049-4D56-809A-18B9E4CF1365}" presName="Name50" presStyleLbl="parChTrans1D4" presStyleIdx="4" presStyleCnt="5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09525"/>
              </a:lnTo>
              <a:lnTo>
                <a:pt x="228170" y="909525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C3FDA960-A5C8-41A5-A178-34C6CFDAD898}" type="pres">
      <dgm:prSet presAssocID="{21049364-D46A-48BF-A4DD-E371A80D3562}" presName="hierRoot2" presStyleCnt="0">
        <dgm:presLayoutVars>
          <dgm:hierBranch val="init"/>
        </dgm:presLayoutVars>
      </dgm:prSet>
      <dgm:spPr/>
    </dgm:pt>
    <dgm:pt modelId="{827C99B5-F0C1-4F22-B41C-AE9F0D2E3A97}" type="pres">
      <dgm:prSet presAssocID="{21049364-D46A-48BF-A4DD-E371A80D3562}" presName="rootComposite" presStyleCnt="0"/>
      <dgm:spPr/>
    </dgm:pt>
    <dgm:pt modelId="{3AE094C3-BAF9-4D09-ABEC-F48C10C29A1F}" type="pres">
      <dgm:prSet presAssocID="{21049364-D46A-48BF-A4DD-E371A80D3562}" presName="rootText" presStyleLbl="node4" presStyleIdx="4" presStyleCnt="5" custScaleX="117586" custScaleY="212152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275F876-A77B-45BC-BC66-5F52B29E35D1}" type="pres">
      <dgm:prSet presAssocID="{21049364-D46A-48BF-A4DD-E371A80D3562}" presName="rootConnector" presStyleLbl="node4" presStyleIdx="4" presStyleCnt="5"/>
      <dgm:spPr/>
      <dgm:t>
        <a:bodyPr/>
        <a:lstStyle/>
        <a:p>
          <a:endParaRPr lang="ru-RU"/>
        </a:p>
      </dgm:t>
    </dgm:pt>
    <dgm:pt modelId="{E5AFC237-9D7C-492D-AB70-EAF01DB8F4F1}" type="pres">
      <dgm:prSet presAssocID="{21049364-D46A-48BF-A4DD-E371A80D3562}" presName="hierChild4" presStyleCnt="0"/>
      <dgm:spPr/>
    </dgm:pt>
    <dgm:pt modelId="{B3484CC8-F3F1-440F-9970-58761E415F67}" type="pres">
      <dgm:prSet presAssocID="{21049364-D46A-48BF-A4DD-E371A80D3562}" presName="hierChild5" presStyleCnt="0"/>
      <dgm:spPr/>
    </dgm:pt>
    <dgm:pt modelId="{653F54C6-5F82-45DE-9D12-7BF21D1F1B56}" type="pres">
      <dgm:prSet presAssocID="{85AC4F3A-978F-430F-B0B4-7D1E4101BDF0}" presName="hierChild5" presStyleCnt="0"/>
      <dgm:spPr/>
    </dgm:pt>
    <dgm:pt modelId="{5F616BCD-6869-4FF9-886B-EADD1322BF43}" type="pres">
      <dgm:prSet presAssocID="{C359E09F-61E6-440B-93E2-048B13DF94EE}" presName="hierChild5" presStyleCnt="0"/>
      <dgm:spPr/>
    </dgm:pt>
    <dgm:pt modelId="{DA90B415-FA52-417F-8597-8C2C22BED691}" type="pres">
      <dgm:prSet presAssocID="{7907A840-C5D9-48E3-B018-F03F5F9DE49F}" presName="hierChild3" presStyleCnt="0"/>
      <dgm:spPr/>
    </dgm:pt>
  </dgm:ptLst>
  <dgm:cxnLst>
    <dgm:cxn modelId="{F6728416-16EE-4839-9336-6B83E5FFB02F}" srcId="{DB68BB57-3217-415B-BF54-5146DA505533}" destId="{DD4F1E9B-37BE-4F29-A2D4-C6C7E96D088F}" srcOrd="0" destOrd="0" parTransId="{9B640ABA-0275-4804-9836-BA627EB61EA2}" sibTransId="{4ADC7AE1-3F95-4B3E-BA8A-7BBF9C6F9706}"/>
    <dgm:cxn modelId="{F21662AE-D072-43FA-9B0C-C6D12867D4E1}" srcId="{C359E09F-61E6-440B-93E2-048B13DF94EE}" destId="{DB68BB57-3217-415B-BF54-5146DA505533}" srcOrd="0" destOrd="0" parTransId="{17331182-842A-4443-A9AA-5493D7CF6DA7}" sibTransId="{603F5C87-4684-4257-9E79-8C9C0D945DD7}"/>
    <dgm:cxn modelId="{0232EDE0-9B44-4E2A-8638-0BF044FCE06E}" type="presOf" srcId="{AD810BB4-7A26-48F5-AB6C-F618E28F77B6}" destId="{7B2989AC-1DAC-4DBB-88EA-59EE01564165}" srcOrd="0" destOrd="0" presId="urn:microsoft.com/office/officeart/2005/8/layout/orgChart1"/>
    <dgm:cxn modelId="{85F420AC-B123-40BE-B797-EBAE74A991FD}" type="presOf" srcId="{BD02E546-F778-4171-9ABC-B2F792AA153E}" destId="{AD9C297C-E5FA-41E0-8644-162DE5FAE5E4}" srcOrd="0" destOrd="0" presId="urn:microsoft.com/office/officeart/2005/8/layout/orgChart1"/>
    <dgm:cxn modelId="{04E0FE67-818A-407A-A578-C98475B5FC81}" srcId="{91FF3AB4-5479-4DCF-8F01-E1E8FDB14AF2}" destId="{CE0E7775-6B1C-4FC6-A060-35065E4B5E6C}" srcOrd="0" destOrd="0" parTransId="{FFDF1C89-C636-4D7E-B5DF-7B439D135864}" sibTransId="{4B2B53B6-BF4A-42F7-9524-E144873BF5B9}"/>
    <dgm:cxn modelId="{8F710D95-6506-465D-B03B-8D3F858B0C92}" type="presOf" srcId="{01BC2727-3454-4015-AB0B-BD68A20B154F}" destId="{AF99CE3D-4176-4975-9FC0-7ABBEBC3D4E9}" srcOrd="1" destOrd="0" presId="urn:microsoft.com/office/officeart/2005/8/layout/orgChart1"/>
    <dgm:cxn modelId="{AEEA2125-1480-4655-928B-C98929806720}" type="presOf" srcId="{DB68BB57-3217-415B-BF54-5146DA505533}" destId="{802FC5DF-CB5E-4C29-801E-9EA98500263E}" srcOrd="0" destOrd="0" presId="urn:microsoft.com/office/officeart/2005/8/layout/orgChart1"/>
    <dgm:cxn modelId="{066666F6-0FBB-418B-A63D-88CDBB1A6B0E}" type="presOf" srcId="{D8FE5638-0792-468C-95EE-429D5078466F}" destId="{7F7CE5FD-3996-4666-AFAC-A322E48155AC}" srcOrd="1" destOrd="0" presId="urn:microsoft.com/office/officeart/2005/8/layout/orgChart1"/>
    <dgm:cxn modelId="{09225716-47B2-4B1E-BF0F-8C5EA094C30B}" type="presOf" srcId="{DD4F1E9B-37BE-4F29-A2D4-C6C7E96D088F}" destId="{8B6E652C-2DE5-49F3-B496-42F9EF49AEA6}" srcOrd="0" destOrd="0" presId="urn:microsoft.com/office/officeart/2005/8/layout/orgChart1"/>
    <dgm:cxn modelId="{EEF77D8C-9930-4720-A897-2F1911C90D5A}" type="presOf" srcId="{0E3656CF-9EEB-44AD-824F-BDE83C1832F6}" destId="{9CF9FBE5-4C63-4710-B6CB-76AF69B22535}" srcOrd="0" destOrd="0" presId="urn:microsoft.com/office/officeart/2005/8/layout/orgChart1"/>
    <dgm:cxn modelId="{AC6D740C-02AC-470D-B91B-B38B6F0B71DD}" type="presOf" srcId="{7907A840-C5D9-48E3-B018-F03F5F9DE49F}" destId="{742B412D-B4F3-4D9F-8661-85C60E3B29A3}" srcOrd="0" destOrd="0" presId="urn:microsoft.com/office/officeart/2005/8/layout/orgChart1"/>
    <dgm:cxn modelId="{A3D9AD2E-6953-4E1C-8096-46DD14986906}" type="presOf" srcId="{85AC4F3A-978F-430F-B0B4-7D1E4101BDF0}" destId="{EDAFF006-2F02-4097-810C-F92E734311DB}" srcOrd="1" destOrd="0" presId="urn:microsoft.com/office/officeart/2005/8/layout/orgChart1"/>
    <dgm:cxn modelId="{E20A02B9-AD49-4BB7-BADA-6FEF10369BFE}" type="presOf" srcId="{01BC2727-3454-4015-AB0B-BD68A20B154F}" destId="{1626C111-1968-4BBD-A9DE-BE57313BA2B6}" srcOrd="0" destOrd="0" presId="urn:microsoft.com/office/officeart/2005/8/layout/orgChart1"/>
    <dgm:cxn modelId="{044B7CC0-68A2-475E-84FD-E1EC255BB987}" type="presOf" srcId="{D8FE5638-0792-468C-95EE-429D5078466F}" destId="{349D05F1-4B65-4C2A-B025-32483E96B8C3}" srcOrd="0" destOrd="0" presId="urn:microsoft.com/office/officeart/2005/8/layout/orgChart1"/>
    <dgm:cxn modelId="{45E0864E-19B9-498C-AE0D-4ACA9B0BEADA}" type="presOf" srcId="{9B640ABA-0275-4804-9836-BA627EB61EA2}" destId="{DD30EAD7-E584-4BB9-B088-480FF05CC931}" srcOrd="0" destOrd="0" presId="urn:microsoft.com/office/officeart/2005/8/layout/orgChart1"/>
    <dgm:cxn modelId="{CD99D070-C6EC-463F-A96A-35FFD79F6A74}" type="presOf" srcId="{85AC4F3A-978F-430F-B0B4-7D1E4101BDF0}" destId="{06AFB2B5-0BBE-486E-8670-A6CEF7662762}" srcOrd="0" destOrd="0" presId="urn:microsoft.com/office/officeart/2005/8/layout/orgChart1"/>
    <dgm:cxn modelId="{DA57284E-CF29-442E-80BF-BBECEAF5F5A5}" type="presOf" srcId="{DB68BB57-3217-415B-BF54-5146DA505533}" destId="{7A9102B3-68B2-41F1-A422-30972E3CD221}" srcOrd="1" destOrd="0" presId="urn:microsoft.com/office/officeart/2005/8/layout/orgChart1"/>
    <dgm:cxn modelId="{B2152366-1E7B-4464-A4E5-57AA7F07F2B6}" type="presOf" srcId="{62D771EB-8DD3-410D-9030-0B006A5FE5BE}" destId="{65041BFD-1845-4B8A-877C-E39B635A23BD}" srcOrd="0" destOrd="0" presId="urn:microsoft.com/office/officeart/2005/8/layout/orgChart1"/>
    <dgm:cxn modelId="{F8DB54BA-C48C-4A8E-97D8-6BA917E4FF18}" srcId="{7907A840-C5D9-48E3-B018-F03F5F9DE49F}" destId="{C359E09F-61E6-440B-93E2-048B13DF94EE}" srcOrd="0" destOrd="0" parTransId="{E186E240-468A-4DDB-B5AA-50BF6DB5EEDC}" sibTransId="{E311674B-C3D1-4C32-9591-7A7C28BBBF6C}"/>
    <dgm:cxn modelId="{AC3BC6FB-14DF-4FC8-805D-EA3BAA2FB609}" srcId="{62D771EB-8DD3-410D-9030-0B006A5FE5BE}" destId="{D8FE5638-0792-468C-95EE-429D5078466F}" srcOrd="0" destOrd="0" parTransId="{1881348B-592C-4DBF-B5F7-B13F74C6E429}" sibTransId="{EC3FE54C-F789-444F-B1CE-DD7B9851825B}"/>
    <dgm:cxn modelId="{6B1CB8D2-501B-4269-A195-A1CBE6F23AD8}" type="presOf" srcId="{FFDF1C89-C636-4D7E-B5DF-7B439D135864}" destId="{4C267C7D-7B53-4795-AE15-1989089B036D}" srcOrd="0" destOrd="0" presId="urn:microsoft.com/office/officeart/2005/8/layout/orgChart1"/>
    <dgm:cxn modelId="{CCDC36CC-3000-4C86-828A-BAEB8C0C8352}" srcId="{01BC2727-3454-4015-AB0B-BD68A20B154F}" destId="{BD02E546-F778-4171-9ABC-B2F792AA153E}" srcOrd="0" destOrd="0" parTransId="{059D43F7-E434-4DC2-90FB-B2B85FF4C961}" sibTransId="{FF90D596-E1D1-4BBB-8CE9-F5CD02A29F19}"/>
    <dgm:cxn modelId="{0852C72E-C451-4710-A62B-625A716782A9}" type="presOf" srcId="{91FF3AB4-5479-4DCF-8F01-E1E8FDB14AF2}" destId="{AA532163-D4C6-4255-9E1D-0DFA82155EBD}" srcOrd="1" destOrd="0" presId="urn:microsoft.com/office/officeart/2005/8/layout/orgChart1"/>
    <dgm:cxn modelId="{F3E4EF78-342F-4A80-AE94-65DB08C2B8D9}" type="presOf" srcId="{1881348B-592C-4DBF-B5F7-B13F74C6E429}" destId="{5D1A391A-B8E5-4A3A-BB8C-A9DF235C9CA6}" srcOrd="0" destOrd="0" presId="urn:microsoft.com/office/officeart/2005/8/layout/orgChart1"/>
    <dgm:cxn modelId="{B4647EF8-9EFD-4E45-B834-238A1117D811}" type="presOf" srcId="{21049364-D46A-48BF-A4DD-E371A80D3562}" destId="{3AE094C3-BAF9-4D09-ABEC-F48C10C29A1F}" srcOrd="0" destOrd="0" presId="urn:microsoft.com/office/officeart/2005/8/layout/orgChart1"/>
    <dgm:cxn modelId="{DE27E777-F29E-4665-BBAE-F6328902EA33}" srcId="{C359E09F-61E6-440B-93E2-048B13DF94EE}" destId="{62D771EB-8DD3-410D-9030-0B006A5FE5BE}" srcOrd="3" destOrd="0" parTransId="{AD810BB4-7A26-48F5-AB6C-F618E28F77B6}" sibTransId="{89A794D0-4A8D-4A3C-8B7D-EE04A280EB0D}"/>
    <dgm:cxn modelId="{EEF3ED54-32B3-42EF-A70D-E5A20D84180D}" type="presOf" srcId="{C359E09F-61E6-440B-93E2-048B13DF94EE}" destId="{F99B3C8C-D57B-4F35-B731-3E1C36F14D5B}" srcOrd="1" destOrd="0" presId="urn:microsoft.com/office/officeart/2005/8/layout/orgChart1"/>
    <dgm:cxn modelId="{476A2A02-A46F-4A54-BA99-DABCFAFB3876}" srcId="{C359E09F-61E6-440B-93E2-048B13DF94EE}" destId="{01BC2727-3454-4015-AB0B-BD68A20B154F}" srcOrd="2" destOrd="0" parTransId="{D8BC6AD7-DE6B-48F6-8FA6-79F47E3102F6}" sibTransId="{79608587-0044-4F81-ADF7-8B547B7A4B34}"/>
    <dgm:cxn modelId="{5D489E41-EA1B-4A7F-99D5-AB217EE7144D}" srcId="{C359E09F-61E6-440B-93E2-048B13DF94EE}" destId="{85AC4F3A-978F-430F-B0B4-7D1E4101BDF0}" srcOrd="4" destOrd="0" parTransId="{E9F33C4D-92C2-4D9F-9DDF-7EC59C57F143}" sibTransId="{4AEDC075-0347-4133-8CAF-EA91AC479EB6}"/>
    <dgm:cxn modelId="{2D43A419-159B-4FB5-A660-23F414ABB2E4}" type="presOf" srcId="{91FF3AB4-5479-4DCF-8F01-E1E8FDB14AF2}" destId="{6D97B1B3-48A8-436E-A1E3-B792C66C5E6B}" srcOrd="0" destOrd="0" presId="urn:microsoft.com/office/officeart/2005/8/layout/orgChart1"/>
    <dgm:cxn modelId="{E7E9AD66-6C1F-4D85-8BD6-717CF4453F1F}" srcId="{0E3656CF-9EEB-44AD-824F-BDE83C1832F6}" destId="{7907A840-C5D9-48E3-B018-F03F5F9DE49F}" srcOrd="0" destOrd="0" parTransId="{3DA134A3-F011-4BFB-A866-47B6C4AA79AB}" sibTransId="{925A1E38-40CC-4E03-9D05-327CF9962A29}"/>
    <dgm:cxn modelId="{3B11D2BD-C609-4303-BC8E-C10DB7109333}" type="presOf" srcId="{E9F33C4D-92C2-4D9F-9DDF-7EC59C57F143}" destId="{76732503-0141-46AD-86AC-49BBA12AAB56}" srcOrd="0" destOrd="0" presId="urn:microsoft.com/office/officeart/2005/8/layout/orgChart1"/>
    <dgm:cxn modelId="{C4537410-C2EF-4A26-B1D8-D85962A384D0}" type="presOf" srcId="{FC258DDE-4ABE-4E38-A021-52E55BC30517}" destId="{1AAD963D-62F9-45C0-B86A-A96AA4F796CC}" srcOrd="0" destOrd="0" presId="urn:microsoft.com/office/officeart/2005/8/layout/orgChart1"/>
    <dgm:cxn modelId="{82E8A602-0FE0-4A4F-A5DC-C96ED4680B1D}" type="presOf" srcId="{CE0E7775-6B1C-4FC6-A060-35065E4B5E6C}" destId="{98888EF3-8072-4FB3-941E-E6C686CDF02F}" srcOrd="1" destOrd="0" presId="urn:microsoft.com/office/officeart/2005/8/layout/orgChart1"/>
    <dgm:cxn modelId="{1498B3BA-0AD5-470E-83D7-01AAD6F88F8F}" type="presOf" srcId="{059D43F7-E434-4DC2-90FB-B2B85FF4C961}" destId="{33CE3869-1CF6-4A0F-AECA-101723F6C0D8}" srcOrd="0" destOrd="0" presId="urn:microsoft.com/office/officeart/2005/8/layout/orgChart1"/>
    <dgm:cxn modelId="{61A43E89-7456-4610-BB21-0F03C4E9CD66}" srcId="{85AC4F3A-978F-430F-B0B4-7D1E4101BDF0}" destId="{21049364-D46A-48BF-A4DD-E371A80D3562}" srcOrd="0" destOrd="0" parTransId="{37858206-F049-4D56-809A-18B9E4CF1365}" sibTransId="{1AACCD0E-7CE0-426E-AB5C-F00C68128DAB}"/>
    <dgm:cxn modelId="{227FA399-CFA5-451E-BC3A-C2E965972E27}" type="presOf" srcId="{37858206-F049-4D56-809A-18B9E4CF1365}" destId="{AB838E88-B68A-4AD8-A5B0-0DB2DD6FD601}" srcOrd="0" destOrd="0" presId="urn:microsoft.com/office/officeart/2005/8/layout/orgChart1"/>
    <dgm:cxn modelId="{55F855AA-D623-42FA-80B2-0DF8D1DE13D2}" type="presOf" srcId="{C359E09F-61E6-440B-93E2-048B13DF94EE}" destId="{68FF758A-B512-4DE6-A5D3-B18085E7EF9D}" srcOrd="0" destOrd="0" presId="urn:microsoft.com/office/officeart/2005/8/layout/orgChart1"/>
    <dgm:cxn modelId="{5ACF2921-C0CA-443F-8A68-BA42B76FF7C3}" type="presOf" srcId="{D8BC6AD7-DE6B-48F6-8FA6-79F47E3102F6}" destId="{FBD4F5AA-BA54-4741-9EDC-931DE2CF74D8}" srcOrd="0" destOrd="0" presId="urn:microsoft.com/office/officeart/2005/8/layout/orgChart1"/>
    <dgm:cxn modelId="{5E197ADB-4574-4ACB-B68C-A6F678E32DC9}" type="presOf" srcId="{BD02E546-F778-4171-9ABC-B2F792AA153E}" destId="{136F1FDC-E1C4-46B9-B6DD-976D34AE7B05}" srcOrd="1" destOrd="0" presId="urn:microsoft.com/office/officeart/2005/8/layout/orgChart1"/>
    <dgm:cxn modelId="{CC29704B-1304-45E5-885A-119BD5ABA2E2}" type="presOf" srcId="{DD4F1E9B-37BE-4F29-A2D4-C6C7E96D088F}" destId="{5FD36622-A5E1-436C-B3A0-1795DB2119A3}" srcOrd="1" destOrd="0" presId="urn:microsoft.com/office/officeart/2005/8/layout/orgChart1"/>
    <dgm:cxn modelId="{B6A90008-1E41-427C-B1E6-897BF882414E}" type="presOf" srcId="{E186E240-468A-4DDB-B5AA-50BF6DB5EEDC}" destId="{77768FE5-B4AF-4DCC-B2AE-548C22CE6689}" srcOrd="0" destOrd="0" presId="urn:microsoft.com/office/officeart/2005/8/layout/orgChart1"/>
    <dgm:cxn modelId="{888B00E0-F7CB-47A8-B28B-417EA529DD18}" srcId="{C359E09F-61E6-440B-93E2-048B13DF94EE}" destId="{91FF3AB4-5479-4DCF-8F01-E1E8FDB14AF2}" srcOrd="1" destOrd="0" parTransId="{FC258DDE-4ABE-4E38-A021-52E55BC30517}" sibTransId="{31F6932D-ECF6-4C75-995F-F8973AF945F4}"/>
    <dgm:cxn modelId="{1484C7B5-F020-4BF2-8299-2615910B7D15}" type="presOf" srcId="{17331182-842A-4443-A9AA-5493D7CF6DA7}" destId="{A8141856-A76F-489B-9403-BA75BAC0EA3C}" srcOrd="0" destOrd="0" presId="urn:microsoft.com/office/officeart/2005/8/layout/orgChart1"/>
    <dgm:cxn modelId="{575B0C12-03EC-4785-9DF8-A652EF51934D}" type="presOf" srcId="{21049364-D46A-48BF-A4DD-E371A80D3562}" destId="{1275F876-A77B-45BC-BC66-5F52B29E35D1}" srcOrd="1" destOrd="0" presId="urn:microsoft.com/office/officeart/2005/8/layout/orgChart1"/>
    <dgm:cxn modelId="{5E2BCE4A-2D3E-4E4C-8B02-6F3AE31A2AC2}" type="presOf" srcId="{CE0E7775-6B1C-4FC6-A060-35065E4B5E6C}" destId="{7D787169-E5EF-4C43-B5FA-DC25E3A1319E}" srcOrd="0" destOrd="0" presId="urn:microsoft.com/office/officeart/2005/8/layout/orgChart1"/>
    <dgm:cxn modelId="{8D467F75-78F3-410E-A4A2-A171C2359674}" type="presOf" srcId="{7907A840-C5D9-48E3-B018-F03F5F9DE49F}" destId="{5C5DC11B-90F9-4397-B431-8F239A6B9EDB}" srcOrd="1" destOrd="0" presId="urn:microsoft.com/office/officeart/2005/8/layout/orgChart1"/>
    <dgm:cxn modelId="{3607A901-2286-494A-AA35-4E1360273355}" type="presOf" srcId="{62D771EB-8DD3-410D-9030-0B006A5FE5BE}" destId="{D3FE92CC-EA6F-47FF-BE9C-6F1F88BB54B2}" srcOrd="1" destOrd="0" presId="urn:microsoft.com/office/officeart/2005/8/layout/orgChart1"/>
    <dgm:cxn modelId="{FD548F97-DF9D-4F5F-9D94-23A2286FDA81}" type="presParOf" srcId="{9CF9FBE5-4C63-4710-B6CB-76AF69B22535}" destId="{C0B78DD3-DC27-4A4B-8A9A-2D5DE64B5140}" srcOrd="0" destOrd="0" presId="urn:microsoft.com/office/officeart/2005/8/layout/orgChart1"/>
    <dgm:cxn modelId="{A5CEEB02-C7CC-4D57-B1C0-AE1E7E1D374F}" type="presParOf" srcId="{C0B78DD3-DC27-4A4B-8A9A-2D5DE64B5140}" destId="{D02FDCA1-58F4-45C3-88B2-CAD8C0B51515}" srcOrd="0" destOrd="0" presId="urn:microsoft.com/office/officeart/2005/8/layout/orgChart1"/>
    <dgm:cxn modelId="{67B22028-988B-4DFA-A3FC-C753472F82AC}" type="presParOf" srcId="{D02FDCA1-58F4-45C3-88B2-CAD8C0B51515}" destId="{742B412D-B4F3-4D9F-8661-85C60E3B29A3}" srcOrd="0" destOrd="0" presId="urn:microsoft.com/office/officeart/2005/8/layout/orgChart1"/>
    <dgm:cxn modelId="{33F6D9CA-D622-4BA6-96E6-E4E6F148B1BE}" type="presParOf" srcId="{D02FDCA1-58F4-45C3-88B2-CAD8C0B51515}" destId="{5C5DC11B-90F9-4397-B431-8F239A6B9EDB}" srcOrd="1" destOrd="0" presId="urn:microsoft.com/office/officeart/2005/8/layout/orgChart1"/>
    <dgm:cxn modelId="{1DE4B37B-7DC0-48CF-A531-502F664F07A9}" type="presParOf" srcId="{C0B78DD3-DC27-4A4B-8A9A-2D5DE64B5140}" destId="{CE4CBE3E-FCE0-4ABA-9797-4506D2BCDFEB}" srcOrd="1" destOrd="0" presId="urn:microsoft.com/office/officeart/2005/8/layout/orgChart1"/>
    <dgm:cxn modelId="{E83DA4F8-C1CE-411E-987E-1D214E6A1470}" type="presParOf" srcId="{CE4CBE3E-FCE0-4ABA-9797-4506D2BCDFEB}" destId="{77768FE5-B4AF-4DCC-B2AE-548C22CE6689}" srcOrd="0" destOrd="0" presId="urn:microsoft.com/office/officeart/2005/8/layout/orgChart1"/>
    <dgm:cxn modelId="{1FF21024-C414-4E8C-AAF1-DD7A3D254E5F}" type="presParOf" srcId="{CE4CBE3E-FCE0-4ABA-9797-4506D2BCDFEB}" destId="{40AC3950-56D6-4D43-B1D7-3E0CAA750131}" srcOrd="1" destOrd="0" presId="urn:microsoft.com/office/officeart/2005/8/layout/orgChart1"/>
    <dgm:cxn modelId="{2D5CBA77-8952-4200-B1A6-558387167EC0}" type="presParOf" srcId="{40AC3950-56D6-4D43-B1D7-3E0CAA750131}" destId="{85087FC8-5BC0-42B2-86D8-77DEC96F5754}" srcOrd="0" destOrd="0" presId="urn:microsoft.com/office/officeart/2005/8/layout/orgChart1"/>
    <dgm:cxn modelId="{72A1A8EB-951B-4D70-A521-3F304767F516}" type="presParOf" srcId="{85087FC8-5BC0-42B2-86D8-77DEC96F5754}" destId="{68FF758A-B512-4DE6-A5D3-B18085E7EF9D}" srcOrd="0" destOrd="0" presId="urn:microsoft.com/office/officeart/2005/8/layout/orgChart1"/>
    <dgm:cxn modelId="{E9DAE01B-2BE7-4FD1-A1F1-BAD201226DEC}" type="presParOf" srcId="{85087FC8-5BC0-42B2-86D8-77DEC96F5754}" destId="{F99B3C8C-D57B-4F35-B731-3E1C36F14D5B}" srcOrd="1" destOrd="0" presId="urn:microsoft.com/office/officeart/2005/8/layout/orgChart1"/>
    <dgm:cxn modelId="{5C561688-E72B-45B7-9C6D-9BB3AC56B7BA}" type="presParOf" srcId="{40AC3950-56D6-4D43-B1D7-3E0CAA750131}" destId="{B0D96FE2-FFF7-4E90-9C44-2C574A2343D5}" srcOrd="1" destOrd="0" presId="urn:microsoft.com/office/officeart/2005/8/layout/orgChart1"/>
    <dgm:cxn modelId="{9F0DCAEE-6139-412B-B622-9FA6088F1F08}" type="presParOf" srcId="{B0D96FE2-FFF7-4E90-9C44-2C574A2343D5}" destId="{A8141856-A76F-489B-9403-BA75BAC0EA3C}" srcOrd="0" destOrd="0" presId="urn:microsoft.com/office/officeart/2005/8/layout/orgChart1"/>
    <dgm:cxn modelId="{74CA8C2E-5780-46DF-A1FA-FCF070DCD4AB}" type="presParOf" srcId="{B0D96FE2-FFF7-4E90-9C44-2C574A2343D5}" destId="{777C468B-ADFD-4770-9240-BDA4628EFD37}" srcOrd="1" destOrd="0" presId="urn:microsoft.com/office/officeart/2005/8/layout/orgChart1"/>
    <dgm:cxn modelId="{445587D8-55F2-42E2-839E-35FE4630DDC7}" type="presParOf" srcId="{777C468B-ADFD-4770-9240-BDA4628EFD37}" destId="{EF800957-7FF5-4ABE-843B-B46C7225C86D}" srcOrd="0" destOrd="0" presId="urn:microsoft.com/office/officeart/2005/8/layout/orgChart1"/>
    <dgm:cxn modelId="{04E7D345-80C1-42F3-A47C-A4D33F5192FB}" type="presParOf" srcId="{EF800957-7FF5-4ABE-843B-B46C7225C86D}" destId="{802FC5DF-CB5E-4C29-801E-9EA98500263E}" srcOrd="0" destOrd="0" presId="urn:microsoft.com/office/officeart/2005/8/layout/orgChart1"/>
    <dgm:cxn modelId="{DE9B3518-19F0-4FCE-B4E2-9C62B2DE7804}" type="presParOf" srcId="{EF800957-7FF5-4ABE-843B-B46C7225C86D}" destId="{7A9102B3-68B2-41F1-A422-30972E3CD221}" srcOrd="1" destOrd="0" presId="urn:microsoft.com/office/officeart/2005/8/layout/orgChart1"/>
    <dgm:cxn modelId="{F4B5E43F-A228-4A76-9A08-EA3E32ECB148}" type="presParOf" srcId="{777C468B-ADFD-4770-9240-BDA4628EFD37}" destId="{D60EBB38-2109-4AED-B581-10039AA506AD}" srcOrd="1" destOrd="0" presId="urn:microsoft.com/office/officeart/2005/8/layout/orgChart1"/>
    <dgm:cxn modelId="{FDCF9438-4D65-422F-8619-4B1F42A46FB4}" type="presParOf" srcId="{D60EBB38-2109-4AED-B581-10039AA506AD}" destId="{DD30EAD7-E584-4BB9-B088-480FF05CC931}" srcOrd="0" destOrd="0" presId="urn:microsoft.com/office/officeart/2005/8/layout/orgChart1"/>
    <dgm:cxn modelId="{4B5D1A6F-E494-455F-AC57-7F5423FDF475}" type="presParOf" srcId="{D60EBB38-2109-4AED-B581-10039AA506AD}" destId="{18160353-C58B-423A-A4B5-C5488683C737}" srcOrd="1" destOrd="0" presId="urn:microsoft.com/office/officeart/2005/8/layout/orgChart1"/>
    <dgm:cxn modelId="{474FDB8C-6C06-4B36-BE88-8614CFD492B8}" type="presParOf" srcId="{18160353-C58B-423A-A4B5-C5488683C737}" destId="{1353F4EA-9D37-4A16-B836-7F5AB5C8E471}" srcOrd="0" destOrd="0" presId="urn:microsoft.com/office/officeart/2005/8/layout/orgChart1"/>
    <dgm:cxn modelId="{9C662865-5B39-4899-9913-CE483BECC90A}" type="presParOf" srcId="{1353F4EA-9D37-4A16-B836-7F5AB5C8E471}" destId="{8B6E652C-2DE5-49F3-B496-42F9EF49AEA6}" srcOrd="0" destOrd="0" presId="urn:microsoft.com/office/officeart/2005/8/layout/orgChart1"/>
    <dgm:cxn modelId="{372E1321-196E-4496-9005-887B6DAD467D}" type="presParOf" srcId="{1353F4EA-9D37-4A16-B836-7F5AB5C8E471}" destId="{5FD36622-A5E1-436C-B3A0-1795DB2119A3}" srcOrd="1" destOrd="0" presId="urn:microsoft.com/office/officeart/2005/8/layout/orgChart1"/>
    <dgm:cxn modelId="{EE4B3138-E445-4705-8BB1-22A2F0D1EA29}" type="presParOf" srcId="{18160353-C58B-423A-A4B5-C5488683C737}" destId="{CEC38469-034A-4EB0-9A96-9748835F46E3}" srcOrd="1" destOrd="0" presId="urn:microsoft.com/office/officeart/2005/8/layout/orgChart1"/>
    <dgm:cxn modelId="{83B7FBB3-E3AE-4CBD-8D90-6611393E87EE}" type="presParOf" srcId="{18160353-C58B-423A-A4B5-C5488683C737}" destId="{3FA466DE-BF80-4D10-95BD-145FD69797EB}" srcOrd="2" destOrd="0" presId="urn:microsoft.com/office/officeart/2005/8/layout/orgChart1"/>
    <dgm:cxn modelId="{46D3AEBC-34E5-40DA-855A-39532025345F}" type="presParOf" srcId="{777C468B-ADFD-4770-9240-BDA4628EFD37}" destId="{F391624C-BADB-45AB-A26A-7711B7F61ADF}" srcOrd="2" destOrd="0" presId="urn:microsoft.com/office/officeart/2005/8/layout/orgChart1"/>
    <dgm:cxn modelId="{557A8E5B-0B75-44F8-997B-8D4E2B1431A5}" type="presParOf" srcId="{B0D96FE2-FFF7-4E90-9C44-2C574A2343D5}" destId="{1AAD963D-62F9-45C0-B86A-A96AA4F796CC}" srcOrd="2" destOrd="0" presId="urn:microsoft.com/office/officeart/2005/8/layout/orgChart1"/>
    <dgm:cxn modelId="{5BC1BADF-28CE-4B49-94E7-3F6289F5F95F}" type="presParOf" srcId="{B0D96FE2-FFF7-4E90-9C44-2C574A2343D5}" destId="{E626D9A3-B5E2-4A61-8D08-2FC65AED5B60}" srcOrd="3" destOrd="0" presId="urn:microsoft.com/office/officeart/2005/8/layout/orgChart1"/>
    <dgm:cxn modelId="{243DA7D4-D9BC-4DD6-9B65-BA53A69782C3}" type="presParOf" srcId="{E626D9A3-B5E2-4A61-8D08-2FC65AED5B60}" destId="{C141E763-C08C-4929-8CB7-DDFA16A1EAFA}" srcOrd="0" destOrd="0" presId="urn:microsoft.com/office/officeart/2005/8/layout/orgChart1"/>
    <dgm:cxn modelId="{22E541C0-E69A-4B28-9229-DD5C606343CF}" type="presParOf" srcId="{C141E763-C08C-4929-8CB7-DDFA16A1EAFA}" destId="{6D97B1B3-48A8-436E-A1E3-B792C66C5E6B}" srcOrd="0" destOrd="0" presId="urn:microsoft.com/office/officeart/2005/8/layout/orgChart1"/>
    <dgm:cxn modelId="{D96E2989-3FCF-4817-9908-E39B13F9801F}" type="presParOf" srcId="{C141E763-C08C-4929-8CB7-DDFA16A1EAFA}" destId="{AA532163-D4C6-4255-9E1D-0DFA82155EBD}" srcOrd="1" destOrd="0" presId="urn:microsoft.com/office/officeart/2005/8/layout/orgChart1"/>
    <dgm:cxn modelId="{CB272038-5719-40C8-BDF4-4F634CC8A56F}" type="presParOf" srcId="{E626D9A3-B5E2-4A61-8D08-2FC65AED5B60}" destId="{934AD213-B197-470B-81CA-ACB7EB30BF5F}" srcOrd="1" destOrd="0" presId="urn:microsoft.com/office/officeart/2005/8/layout/orgChart1"/>
    <dgm:cxn modelId="{59D993E6-524D-4917-80D2-DD745332B064}" type="presParOf" srcId="{934AD213-B197-470B-81CA-ACB7EB30BF5F}" destId="{4C267C7D-7B53-4795-AE15-1989089B036D}" srcOrd="0" destOrd="0" presId="urn:microsoft.com/office/officeart/2005/8/layout/orgChart1"/>
    <dgm:cxn modelId="{5FCB80AA-89B9-44D3-92A4-7CC997E4D211}" type="presParOf" srcId="{934AD213-B197-470B-81CA-ACB7EB30BF5F}" destId="{693B582E-545D-426E-AFCF-91AA9695A680}" srcOrd="1" destOrd="0" presId="urn:microsoft.com/office/officeart/2005/8/layout/orgChart1"/>
    <dgm:cxn modelId="{02B1BF03-9FB6-45CA-98D3-2396B3A70D29}" type="presParOf" srcId="{693B582E-545D-426E-AFCF-91AA9695A680}" destId="{BED85C06-6725-425A-A67F-C64CD2302267}" srcOrd="0" destOrd="0" presId="urn:microsoft.com/office/officeart/2005/8/layout/orgChart1"/>
    <dgm:cxn modelId="{BDEC4F0B-D78C-4BE4-B16A-24C8634054D4}" type="presParOf" srcId="{BED85C06-6725-425A-A67F-C64CD2302267}" destId="{7D787169-E5EF-4C43-B5FA-DC25E3A1319E}" srcOrd="0" destOrd="0" presId="urn:microsoft.com/office/officeart/2005/8/layout/orgChart1"/>
    <dgm:cxn modelId="{F55A4C9E-D1D5-4519-9140-FCC4EAA24C8D}" type="presParOf" srcId="{BED85C06-6725-425A-A67F-C64CD2302267}" destId="{98888EF3-8072-4FB3-941E-E6C686CDF02F}" srcOrd="1" destOrd="0" presId="urn:microsoft.com/office/officeart/2005/8/layout/orgChart1"/>
    <dgm:cxn modelId="{81B1E60F-0E1C-4630-A07F-FD6E37800521}" type="presParOf" srcId="{693B582E-545D-426E-AFCF-91AA9695A680}" destId="{30BF15B8-F8AB-4ACB-AAE9-68250F74F00F}" srcOrd="1" destOrd="0" presId="urn:microsoft.com/office/officeart/2005/8/layout/orgChart1"/>
    <dgm:cxn modelId="{15343666-FAC8-4A2D-877A-5F012320D496}" type="presParOf" srcId="{693B582E-545D-426E-AFCF-91AA9695A680}" destId="{B0D527CC-7834-4B43-BE8A-FA36F145B20C}" srcOrd="2" destOrd="0" presId="urn:microsoft.com/office/officeart/2005/8/layout/orgChart1"/>
    <dgm:cxn modelId="{CAE6B30E-81CD-4BD7-9484-DA6487541E86}" type="presParOf" srcId="{E626D9A3-B5E2-4A61-8D08-2FC65AED5B60}" destId="{E3C44CAE-6A92-4E57-B843-3E2B4073809C}" srcOrd="2" destOrd="0" presId="urn:microsoft.com/office/officeart/2005/8/layout/orgChart1"/>
    <dgm:cxn modelId="{1933FA3D-02C8-4FA4-A054-5A5042C7CFB7}" type="presParOf" srcId="{B0D96FE2-FFF7-4E90-9C44-2C574A2343D5}" destId="{FBD4F5AA-BA54-4741-9EDC-931DE2CF74D8}" srcOrd="4" destOrd="0" presId="urn:microsoft.com/office/officeart/2005/8/layout/orgChart1"/>
    <dgm:cxn modelId="{203D8A43-7819-434A-BCA9-926E4DDC42DF}" type="presParOf" srcId="{B0D96FE2-FFF7-4E90-9C44-2C574A2343D5}" destId="{AEC3D951-C205-44FD-88E5-D9546D851203}" srcOrd="5" destOrd="0" presId="urn:microsoft.com/office/officeart/2005/8/layout/orgChart1"/>
    <dgm:cxn modelId="{087487D0-9FD6-47EE-B8BF-5ECB241736C8}" type="presParOf" srcId="{AEC3D951-C205-44FD-88E5-D9546D851203}" destId="{D2F94AC2-30A8-45AA-BB3E-157C8FE1FC1A}" srcOrd="0" destOrd="0" presId="urn:microsoft.com/office/officeart/2005/8/layout/orgChart1"/>
    <dgm:cxn modelId="{73DD61BC-BA05-4094-A868-62F50EC92C12}" type="presParOf" srcId="{D2F94AC2-30A8-45AA-BB3E-157C8FE1FC1A}" destId="{1626C111-1968-4BBD-A9DE-BE57313BA2B6}" srcOrd="0" destOrd="0" presId="urn:microsoft.com/office/officeart/2005/8/layout/orgChart1"/>
    <dgm:cxn modelId="{480C44DF-2DA6-48CF-8F25-EE3694D73B4F}" type="presParOf" srcId="{D2F94AC2-30A8-45AA-BB3E-157C8FE1FC1A}" destId="{AF99CE3D-4176-4975-9FC0-7ABBEBC3D4E9}" srcOrd="1" destOrd="0" presId="urn:microsoft.com/office/officeart/2005/8/layout/orgChart1"/>
    <dgm:cxn modelId="{34386985-36AE-465B-AB67-00161C5BDCED}" type="presParOf" srcId="{AEC3D951-C205-44FD-88E5-D9546D851203}" destId="{4ED3C553-91E8-4A50-9E30-33760CC6FB10}" srcOrd="1" destOrd="0" presId="urn:microsoft.com/office/officeart/2005/8/layout/orgChart1"/>
    <dgm:cxn modelId="{08F8B645-B191-4D5E-AB8F-84C5993C6B9B}" type="presParOf" srcId="{4ED3C553-91E8-4A50-9E30-33760CC6FB10}" destId="{33CE3869-1CF6-4A0F-AECA-101723F6C0D8}" srcOrd="0" destOrd="0" presId="urn:microsoft.com/office/officeart/2005/8/layout/orgChart1"/>
    <dgm:cxn modelId="{45F7B62F-F80D-4AC8-B93C-B0A519AB0E75}" type="presParOf" srcId="{4ED3C553-91E8-4A50-9E30-33760CC6FB10}" destId="{EBBEC7AA-43B9-42BC-BF5E-CA44B4348AE5}" srcOrd="1" destOrd="0" presId="urn:microsoft.com/office/officeart/2005/8/layout/orgChart1"/>
    <dgm:cxn modelId="{C76418D3-B074-4FCE-A47C-B210BB180DB3}" type="presParOf" srcId="{EBBEC7AA-43B9-42BC-BF5E-CA44B4348AE5}" destId="{491F1E5C-73E4-4C60-802A-730FDA6DD223}" srcOrd="0" destOrd="0" presId="urn:microsoft.com/office/officeart/2005/8/layout/orgChart1"/>
    <dgm:cxn modelId="{731010C7-F3D7-46C1-9C43-DF59EC11F72E}" type="presParOf" srcId="{491F1E5C-73E4-4C60-802A-730FDA6DD223}" destId="{AD9C297C-E5FA-41E0-8644-162DE5FAE5E4}" srcOrd="0" destOrd="0" presId="urn:microsoft.com/office/officeart/2005/8/layout/orgChart1"/>
    <dgm:cxn modelId="{FACCD419-FD4B-42B4-BD97-1B9A2950DC81}" type="presParOf" srcId="{491F1E5C-73E4-4C60-802A-730FDA6DD223}" destId="{136F1FDC-E1C4-46B9-B6DD-976D34AE7B05}" srcOrd="1" destOrd="0" presId="urn:microsoft.com/office/officeart/2005/8/layout/orgChart1"/>
    <dgm:cxn modelId="{DEDA80EF-1568-4E53-8FAB-09EE5C2D026C}" type="presParOf" srcId="{EBBEC7AA-43B9-42BC-BF5E-CA44B4348AE5}" destId="{C88F27BF-A09E-42CB-9CAB-CAE8B40029AA}" srcOrd="1" destOrd="0" presId="urn:microsoft.com/office/officeart/2005/8/layout/orgChart1"/>
    <dgm:cxn modelId="{C3F20D85-1095-4D59-BAEB-047191CB38DE}" type="presParOf" srcId="{EBBEC7AA-43B9-42BC-BF5E-CA44B4348AE5}" destId="{D88C6CD1-75A5-4BF0-842B-B19ADA10FA9A}" srcOrd="2" destOrd="0" presId="urn:microsoft.com/office/officeart/2005/8/layout/orgChart1"/>
    <dgm:cxn modelId="{307F5589-57C1-4DDA-ADAD-481BE61AC74C}" type="presParOf" srcId="{AEC3D951-C205-44FD-88E5-D9546D851203}" destId="{8FB8DE26-E0F5-4308-8E6C-186C95ECA27C}" srcOrd="2" destOrd="0" presId="urn:microsoft.com/office/officeart/2005/8/layout/orgChart1"/>
    <dgm:cxn modelId="{2206F3B8-81FB-4917-BBD3-B729734DD13F}" type="presParOf" srcId="{B0D96FE2-FFF7-4E90-9C44-2C574A2343D5}" destId="{7B2989AC-1DAC-4DBB-88EA-59EE01564165}" srcOrd="6" destOrd="0" presId="urn:microsoft.com/office/officeart/2005/8/layout/orgChart1"/>
    <dgm:cxn modelId="{76F08EC8-C545-4334-93EA-672932861A07}" type="presParOf" srcId="{B0D96FE2-FFF7-4E90-9C44-2C574A2343D5}" destId="{534A48F7-12D1-4984-8EC2-C1FD36092C4B}" srcOrd="7" destOrd="0" presId="urn:microsoft.com/office/officeart/2005/8/layout/orgChart1"/>
    <dgm:cxn modelId="{48800F1F-6E32-4FD4-87D3-3DB51E2E422A}" type="presParOf" srcId="{534A48F7-12D1-4984-8EC2-C1FD36092C4B}" destId="{5E72ACB8-1037-44F0-8D7E-ADD050D36467}" srcOrd="0" destOrd="0" presId="urn:microsoft.com/office/officeart/2005/8/layout/orgChart1"/>
    <dgm:cxn modelId="{1D621317-464C-4B91-9305-FCC2B96A7785}" type="presParOf" srcId="{5E72ACB8-1037-44F0-8D7E-ADD050D36467}" destId="{65041BFD-1845-4B8A-877C-E39B635A23BD}" srcOrd="0" destOrd="0" presId="urn:microsoft.com/office/officeart/2005/8/layout/orgChart1"/>
    <dgm:cxn modelId="{57437942-C77F-4586-BA1F-7083CD4CD0E2}" type="presParOf" srcId="{5E72ACB8-1037-44F0-8D7E-ADD050D36467}" destId="{D3FE92CC-EA6F-47FF-BE9C-6F1F88BB54B2}" srcOrd="1" destOrd="0" presId="urn:microsoft.com/office/officeart/2005/8/layout/orgChart1"/>
    <dgm:cxn modelId="{52C2A42E-A7A5-42B8-8C2D-1D13CCDE9DEE}" type="presParOf" srcId="{534A48F7-12D1-4984-8EC2-C1FD36092C4B}" destId="{B5192253-A499-4E7A-9FD8-EECD7A86A4E0}" srcOrd="1" destOrd="0" presId="urn:microsoft.com/office/officeart/2005/8/layout/orgChart1"/>
    <dgm:cxn modelId="{BD15BEB7-B4F7-4F1D-A865-CB2E5C14417C}" type="presParOf" srcId="{B5192253-A499-4E7A-9FD8-EECD7A86A4E0}" destId="{5D1A391A-B8E5-4A3A-BB8C-A9DF235C9CA6}" srcOrd="0" destOrd="0" presId="urn:microsoft.com/office/officeart/2005/8/layout/orgChart1"/>
    <dgm:cxn modelId="{968D5702-AA06-45BC-9AB0-D334AED7649F}" type="presParOf" srcId="{B5192253-A499-4E7A-9FD8-EECD7A86A4E0}" destId="{E4E35B30-BC56-48FE-805F-6E017F3D1506}" srcOrd="1" destOrd="0" presId="urn:microsoft.com/office/officeart/2005/8/layout/orgChart1"/>
    <dgm:cxn modelId="{BF707D5A-E655-4192-AB90-8185CF15BA2C}" type="presParOf" srcId="{E4E35B30-BC56-48FE-805F-6E017F3D1506}" destId="{A7B07F1F-483F-4EA1-AD8A-B7E81A4730E9}" srcOrd="0" destOrd="0" presId="urn:microsoft.com/office/officeart/2005/8/layout/orgChart1"/>
    <dgm:cxn modelId="{D6A9D0AC-2FE6-46E1-8155-9FEA4A8CA3DB}" type="presParOf" srcId="{A7B07F1F-483F-4EA1-AD8A-B7E81A4730E9}" destId="{349D05F1-4B65-4C2A-B025-32483E96B8C3}" srcOrd="0" destOrd="0" presId="urn:microsoft.com/office/officeart/2005/8/layout/orgChart1"/>
    <dgm:cxn modelId="{C87E37D3-6C97-4723-AAEC-E313120F13D1}" type="presParOf" srcId="{A7B07F1F-483F-4EA1-AD8A-B7E81A4730E9}" destId="{7F7CE5FD-3996-4666-AFAC-A322E48155AC}" srcOrd="1" destOrd="0" presId="urn:microsoft.com/office/officeart/2005/8/layout/orgChart1"/>
    <dgm:cxn modelId="{1D162C82-4DA1-4211-A78D-C39C5C7A8A6A}" type="presParOf" srcId="{E4E35B30-BC56-48FE-805F-6E017F3D1506}" destId="{202C436D-10A3-4469-B087-C1DEB3EE8C31}" srcOrd="1" destOrd="0" presId="urn:microsoft.com/office/officeart/2005/8/layout/orgChart1"/>
    <dgm:cxn modelId="{C6F402D0-3DD7-4D05-AC08-1800633C6250}" type="presParOf" srcId="{E4E35B30-BC56-48FE-805F-6E017F3D1506}" destId="{5CD0E6A4-C2EA-4CE7-BD00-0272170540D5}" srcOrd="2" destOrd="0" presId="urn:microsoft.com/office/officeart/2005/8/layout/orgChart1"/>
    <dgm:cxn modelId="{086DA593-1308-42E7-B38B-04648F147C39}" type="presParOf" srcId="{534A48F7-12D1-4984-8EC2-C1FD36092C4B}" destId="{7027603C-9844-4F41-A21A-E05392710043}" srcOrd="2" destOrd="0" presId="urn:microsoft.com/office/officeart/2005/8/layout/orgChart1"/>
    <dgm:cxn modelId="{91B1F32D-DD43-4809-8B89-C6AE5E0B8E0F}" type="presParOf" srcId="{B0D96FE2-FFF7-4E90-9C44-2C574A2343D5}" destId="{76732503-0141-46AD-86AC-49BBA12AAB56}" srcOrd="8" destOrd="0" presId="urn:microsoft.com/office/officeart/2005/8/layout/orgChart1"/>
    <dgm:cxn modelId="{CC6CE819-DD36-44C9-A372-3237CEF4A003}" type="presParOf" srcId="{B0D96FE2-FFF7-4E90-9C44-2C574A2343D5}" destId="{65119065-7A4D-4BFF-8798-4B7BB0198E29}" srcOrd="9" destOrd="0" presId="urn:microsoft.com/office/officeart/2005/8/layout/orgChart1"/>
    <dgm:cxn modelId="{40BAF444-DBDB-4C63-BD61-13AA033ED640}" type="presParOf" srcId="{65119065-7A4D-4BFF-8798-4B7BB0198E29}" destId="{5E831D29-5D3B-4DBA-BEB8-E920252B1ABC}" srcOrd="0" destOrd="0" presId="urn:microsoft.com/office/officeart/2005/8/layout/orgChart1"/>
    <dgm:cxn modelId="{8EB25A5A-8ABB-4A83-995C-8E328528E9C9}" type="presParOf" srcId="{5E831D29-5D3B-4DBA-BEB8-E920252B1ABC}" destId="{06AFB2B5-0BBE-486E-8670-A6CEF7662762}" srcOrd="0" destOrd="0" presId="urn:microsoft.com/office/officeart/2005/8/layout/orgChart1"/>
    <dgm:cxn modelId="{BAAB3980-AAAF-446F-8189-414DB3FC066E}" type="presParOf" srcId="{5E831D29-5D3B-4DBA-BEB8-E920252B1ABC}" destId="{EDAFF006-2F02-4097-810C-F92E734311DB}" srcOrd="1" destOrd="0" presId="urn:microsoft.com/office/officeart/2005/8/layout/orgChart1"/>
    <dgm:cxn modelId="{26D4EAD3-5CC9-483F-9C9F-572CDEAB7741}" type="presParOf" srcId="{65119065-7A4D-4BFF-8798-4B7BB0198E29}" destId="{4B6E96DE-B58F-4132-AABB-D63F57ECA5CF}" srcOrd="1" destOrd="0" presId="urn:microsoft.com/office/officeart/2005/8/layout/orgChart1"/>
    <dgm:cxn modelId="{6B23BB7B-9352-47A2-B2E9-3EDE8D2C1421}" type="presParOf" srcId="{4B6E96DE-B58F-4132-AABB-D63F57ECA5CF}" destId="{AB838E88-B68A-4AD8-A5B0-0DB2DD6FD601}" srcOrd="0" destOrd="0" presId="urn:microsoft.com/office/officeart/2005/8/layout/orgChart1"/>
    <dgm:cxn modelId="{E61B4D81-95C6-49BB-AAF0-0AE4B6091B25}" type="presParOf" srcId="{4B6E96DE-B58F-4132-AABB-D63F57ECA5CF}" destId="{C3FDA960-A5C8-41A5-A178-34C6CFDAD898}" srcOrd="1" destOrd="0" presId="urn:microsoft.com/office/officeart/2005/8/layout/orgChart1"/>
    <dgm:cxn modelId="{7F25864F-A3E2-4B53-85D7-22F8E5CDB1D3}" type="presParOf" srcId="{C3FDA960-A5C8-41A5-A178-34C6CFDAD898}" destId="{827C99B5-F0C1-4F22-B41C-AE9F0D2E3A97}" srcOrd="0" destOrd="0" presId="urn:microsoft.com/office/officeart/2005/8/layout/orgChart1"/>
    <dgm:cxn modelId="{63D682F4-3F2E-49CF-831D-AF45997EE866}" type="presParOf" srcId="{827C99B5-F0C1-4F22-B41C-AE9F0D2E3A97}" destId="{3AE094C3-BAF9-4D09-ABEC-F48C10C29A1F}" srcOrd="0" destOrd="0" presId="urn:microsoft.com/office/officeart/2005/8/layout/orgChart1"/>
    <dgm:cxn modelId="{BE2CC5D4-63AF-4ABD-8AD2-C33C0883C5FB}" type="presParOf" srcId="{827C99B5-F0C1-4F22-B41C-AE9F0D2E3A97}" destId="{1275F876-A77B-45BC-BC66-5F52B29E35D1}" srcOrd="1" destOrd="0" presId="urn:microsoft.com/office/officeart/2005/8/layout/orgChart1"/>
    <dgm:cxn modelId="{2F08C1A4-FDD3-4B1E-BDBA-A6DFB2AA7B17}" type="presParOf" srcId="{C3FDA960-A5C8-41A5-A178-34C6CFDAD898}" destId="{E5AFC237-9D7C-492D-AB70-EAF01DB8F4F1}" srcOrd="1" destOrd="0" presId="urn:microsoft.com/office/officeart/2005/8/layout/orgChart1"/>
    <dgm:cxn modelId="{1CC78579-81DD-4EEE-8505-B22048A58E77}" type="presParOf" srcId="{C3FDA960-A5C8-41A5-A178-34C6CFDAD898}" destId="{B3484CC8-F3F1-440F-9970-58761E415F67}" srcOrd="2" destOrd="0" presId="urn:microsoft.com/office/officeart/2005/8/layout/orgChart1"/>
    <dgm:cxn modelId="{D831F56F-310B-4A84-8ECA-3AD444456045}" type="presParOf" srcId="{65119065-7A4D-4BFF-8798-4B7BB0198E29}" destId="{653F54C6-5F82-45DE-9D12-7BF21D1F1B56}" srcOrd="2" destOrd="0" presId="urn:microsoft.com/office/officeart/2005/8/layout/orgChart1"/>
    <dgm:cxn modelId="{A218B019-B6C3-4648-9B73-04DF7604E6AD}" type="presParOf" srcId="{40AC3950-56D6-4D43-B1D7-3E0CAA750131}" destId="{5F616BCD-6869-4FF9-886B-EADD1322BF43}" srcOrd="2" destOrd="0" presId="urn:microsoft.com/office/officeart/2005/8/layout/orgChart1"/>
    <dgm:cxn modelId="{FFB720DD-43EA-4243-91AE-3644B49D39D9}" type="presParOf" srcId="{C0B78DD3-DC27-4A4B-8A9A-2D5DE64B5140}" destId="{DA90B415-FA52-417F-8597-8C2C22BED691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D7FED4D-3E35-495D-8A72-09C2228595F6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4E47D29-0A73-4ABE-86A7-F431B0A5B5D4}">
      <dgm:prSet phldrT="[Текст]" custT="1"/>
      <dgm:spPr/>
      <dgm:t>
        <a:bodyPr/>
        <a:lstStyle/>
        <a:p>
          <a:r>
            <a:rPr lang="ru-RU" sz="1200" dirty="0" smtClean="0"/>
            <a:t>Демография </a:t>
          </a:r>
          <a:endParaRPr lang="ru-RU" sz="1200" dirty="0"/>
        </a:p>
      </dgm:t>
    </dgm:pt>
    <dgm:pt modelId="{C2A0189D-B4EA-4B1B-A739-DFDD11692F48}" type="parTrans" cxnId="{A29EE673-71F6-4A3E-8657-FEB6F48F55C0}">
      <dgm:prSet/>
      <dgm:spPr/>
      <dgm:t>
        <a:bodyPr/>
        <a:lstStyle/>
        <a:p>
          <a:endParaRPr lang="ru-RU" sz="1600"/>
        </a:p>
      </dgm:t>
    </dgm:pt>
    <dgm:pt modelId="{0DC2F835-BF6C-407D-882C-18F83A2075CA}" type="sibTrans" cxnId="{A29EE673-71F6-4A3E-8657-FEB6F48F55C0}">
      <dgm:prSet/>
      <dgm:spPr/>
      <dgm:t>
        <a:bodyPr/>
        <a:lstStyle/>
        <a:p>
          <a:endParaRPr lang="ru-RU" sz="1600"/>
        </a:p>
      </dgm:t>
    </dgm:pt>
    <dgm:pt modelId="{F78A29D2-7C25-4623-B2C4-E95D06E9936A}">
      <dgm:prSet phldrT="[Текст]" custT="1"/>
      <dgm:spPr/>
      <dgm:t>
        <a:bodyPr/>
        <a:lstStyle/>
        <a:p>
          <a:r>
            <a:rPr lang="ru-RU" sz="1050" dirty="0" smtClean="0"/>
            <a:t>Федеральный проект 1 </a:t>
          </a:r>
          <a:endParaRPr lang="ru-RU" sz="1050" dirty="0"/>
        </a:p>
      </dgm:t>
    </dgm:pt>
    <dgm:pt modelId="{24197423-43C2-4292-AD58-0C8261DA27BE}" type="parTrans" cxnId="{6D424480-433E-471E-ABE5-3B7C04CD11DA}">
      <dgm:prSet custT="1"/>
      <dgm:spPr/>
      <dgm:t>
        <a:bodyPr/>
        <a:lstStyle/>
        <a:p>
          <a:endParaRPr lang="ru-RU" sz="400"/>
        </a:p>
      </dgm:t>
    </dgm:pt>
    <dgm:pt modelId="{48498665-6DCD-4BB4-8309-62E1408B3445}" type="sibTrans" cxnId="{6D424480-433E-471E-ABE5-3B7C04CD11DA}">
      <dgm:prSet/>
      <dgm:spPr/>
      <dgm:t>
        <a:bodyPr/>
        <a:lstStyle/>
        <a:p>
          <a:endParaRPr lang="ru-RU" sz="1600"/>
        </a:p>
      </dgm:t>
    </dgm:pt>
    <dgm:pt modelId="{CA227BB9-FE76-49D1-BD3A-38429577BC7B}">
      <dgm:prSet phldrT="[Текст]" custT="1"/>
      <dgm:spPr/>
      <dgm:t>
        <a:bodyPr/>
        <a:lstStyle/>
        <a:p>
          <a:r>
            <a:rPr lang="ru-RU" sz="1050" dirty="0" smtClean="0"/>
            <a:t>Федеральный проект 2</a:t>
          </a:r>
          <a:endParaRPr lang="ru-RU" sz="1050" dirty="0"/>
        </a:p>
      </dgm:t>
    </dgm:pt>
    <dgm:pt modelId="{96924FED-1109-4474-90E5-9AFADCA14700}" type="parTrans" cxnId="{53AF34C0-CCD2-4E35-99F0-DF9FFFAD54FF}">
      <dgm:prSet custT="1"/>
      <dgm:spPr/>
      <dgm:t>
        <a:bodyPr/>
        <a:lstStyle/>
        <a:p>
          <a:endParaRPr lang="ru-RU" sz="400"/>
        </a:p>
      </dgm:t>
    </dgm:pt>
    <dgm:pt modelId="{0E16196B-0235-4B17-8C49-B53752ECC238}" type="sibTrans" cxnId="{53AF34C0-CCD2-4E35-99F0-DF9FFFAD54FF}">
      <dgm:prSet/>
      <dgm:spPr/>
      <dgm:t>
        <a:bodyPr/>
        <a:lstStyle/>
        <a:p>
          <a:endParaRPr lang="ru-RU" sz="1600"/>
        </a:p>
      </dgm:t>
    </dgm:pt>
    <dgm:pt modelId="{2AC3F621-9280-4D8E-9C40-8BD47942FCB0}">
      <dgm:prSet phldrT="[Текст]" custT="1"/>
      <dgm:spPr/>
      <dgm:t>
        <a:bodyPr/>
        <a:lstStyle/>
        <a:p>
          <a:r>
            <a:rPr lang="ru-RU" sz="1000" dirty="0" smtClean="0"/>
            <a:t>Региональный проект </a:t>
          </a:r>
          <a:endParaRPr lang="ru-RU" sz="1000" dirty="0"/>
        </a:p>
      </dgm:t>
    </dgm:pt>
    <dgm:pt modelId="{D6C5F9EB-01AC-4E5B-8641-619E34757A7D}" type="parTrans" cxnId="{4C3CDDCD-1C79-4699-9287-8813AAC89569}">
      <dgm:prSet custT="1"/>
      <dgm:spPr/>
      <dgm:t>
        <a:bodyPr/>
        <a:lstStyle/>
        <a:p>
          <a:endParaRPr lang="ru-RU" sz="400"/>
        </a:p>
      </dgm:t>
    </dgm:pt>
    <dgm:pt modelId="{CCC24D82-EB37-482E-80BF-F4143CBEF394}" type="sibTrans" cxnId="{4C3CDDCD-1C79-4699-9287-8813AAC89569}">
      <dgm:prSet/>
      <dgm:spPr/>
      <dgm:t>
        <a:bodyPr/>
        <a:lstStyle/>
        <a:p>
          <a:endParaRPr lang="ru-RU" sz="1600"/>
        </a:p>
      </dgm:t>
    </dgm:pt>
    <dgm:pt modelId="{D373D83B-15DC-43B4-8223-B131B7207E23}">
      <dgm:prSet phldrT="[Текст]" custT="1"/>
      <dgm:spPr/>
      <dgm:t>
        <a:bodyPr/>
        <a:lstStyle/>
        <a:p>
          <a:r>
            <a:rPr lang="ru-RU" sz="1100" dirty="0" smtClean="0"/>
            <a:t>Национальный  проект </a:t>
          </a:r>
          <a:endParaRPr lang="ru-RU" sz="1100" dirty="0"/>
        </a:p>
      </dgm:t>
    </dgm:pt>
    <dgm:pt modelId="{FBA1CE19-256B-48BA-955D-DF74FB152675}" type="parTrans" cxnId="{FD66857A-DD34-442A-880A-26453DB7AE82}">
      <dgm:prSet/>
      <dgm:spPr/>
      <dgm:t>
        <a:bodyPr/>
        <a:lstStyle/>
        <a:p>
          <a:endParaRPr lang="ru-RU" sz="1600"/>
        </a:p>
      </dgm:t>
    </dgm:pt>
    <dgm:pt modelId="{5D4CC776-60C6-478A-9AFC-0C2219014900}" type="sibTrans" cxnId="{FD66857A-DD34-442A-880A-26453DB7AE82}">
      <dgm:prSet/>
      <dgm:spPr/>
      <dgm:t>
        <a:bodyPr/>
        <a:lstStyle/>
        <a:p>
          <a:endParaRPr lang="ru-RU" sz="1600"/>
        </a:p>
      </dgm:t>
    </dgm:pt>
    <dgm:pt modelId="{17BF242E-B8D4-421D-B6F9-11F55EE71012}">
      <dgm:prSet phldrT="[Текст]" custT="1"/>
      <dgm:spPr/>
      <dgm:t>
        <a:bodyPr/>
        <a:lstStyle/>
        <a:p>
          <a:r>
            <a:rPr lang="ru-RU" sz="1100" dirty="0" smtClean="0"/>
            <a:t>Федеральные проекты </a:t>
          </a:r>
          <a:endParaRPr lang="ru-RU" sz="1100" dirty="0"/>
        </a:p>
      </dgm:t>
    </dgm:pt>
    <dgm:pt modelId="{891D469E-CE5B-4C45-ABF8-8BC94C7CF1A5}" type="parTrans" cxnId="{1C0DE6D5-C004-4DB6-9072-B3AA2C94A142}">
      <dgm:prSet/>
      <dgm:spPr/>
      <dgm:t>
        <a:bodyPr/>
        <a:lstStyle/>
        <a:p>
          <a:endParaRPr lang="ru-RU" sz="1600"/>
        </a:p>
      </dgm:t>
    </dgm:pt>
    <dgm:pt modelId="{B33D5CEB-19E1-4CD7-BB7A-AE9E8120F759}" type="sibTrans" cxnId="{1C0DE6D5-C004-4DB6-9072-B3AA2C94A142}">
      <dgm:prSet/>
      <dgm:spPr/>
      <dgm:t>
        <a:bodyPr/>
        <a:lstStyle/>
        <a:p>
          <a:endParaRPr lang="ru-RU" sz="1600"/>
        </a:p>
      </dgm:t>
    </dgm:pt>
    <dgm:pt modelId="{512F068E-02D5-440A-9BF2-726FAF5184A0}">
      <dgm:prSet phldrT="[Текст]" custT="1"/>
      <dgm:spPr/>
      <dgm:t>
        <a:bodyPr/>
        <a:lstStyle/>
        <a:p>
          <a:r>
            <a:rPr lang="ru-RU" sz="1100" dirty="0" smtClean="0"/>
            <a:t>Региональные проекты </a:t>
          </a:r>
          <a:endParaRPr lang="ru-RU" sz="1100" dirty="0"/>
        </a:p>
      </dgm:t>
    </dgm:pt>
    <dgm:pt modelId="{7BAE67EA-0CD9-4C01-AF63-A915FE0E757A}" type="parTrans" cxnId="{A8838FEF-80ED-4431-8E15-468E19FF7C52}">
      <dgm:prSet/>
      <dgm:spPr/>
      <dgm:t>
        <a:bodyPr/>
        <a:lstStyle/>
        <a:p>
          <a:endParaRPr lang="ru-RU" sz="1600"/>
        </a:p>
      </dgm:t>
    </dgm:pt>
    <dgm:pt modelId="{524516BE-A41D-438D-9262-7EE83139386F}" type="sibTrans" cxnId="{A8838FEF-80ED-4431-8E15-468E19FF7C52}">
      <dgm:prSet/>
      <dgm:spPr/>
      <dgm:t>
        <a:bodyPr/>
        <a:lstStyle/>
        <a:p>
          <a:endParaRPr lang="ru-RU" sz="1600"/>
        </a:p>
      </dgm:t>
    </dgm:pt>
    <dgm:pt modelId="{F173DD03-4B9E-4C87-AA9D-8F9A035591A7}">
      <dgm:prSet custT="1"/>
      <dgm:spPr/>
      <dgm:t>
        <a:bodyPr/>
        <a:lstStyle/>
        <a:p>
          <a:r>
            <a:rPr lang="ru-RU" sz="1050" dirty="0" smtClean="0"/>
            <a:t>Федеральный проект 3 </a:t>
          </a:r>
          <a:endParaRPr lang="ru-RU" sz="1050" dirty="0"/>
        </a:p>
      </dgm:t>
    </dgm:pt>
    <dgm:pt modelId="{2E56B2AE-6B32-4154-BF79-4C9D7DB62CCF}" type="parTrans" cxnId="{F2006095-81CA-4FD7-9AD4-7859872CC869}">
      <dgm:prSet custT="1"/>
      <dgm:spPr/>
      <dgm:t>
        <a:bodyPr/>
        <a:lstStyle/>
        <a:p>
          <a:endParaRPr lang="ru-RU" sz="400"/>
        </a:p>
      </dgm:t>
    </dgm:pt>
    <dgm:pt modelId="{24167F57-019A-4D4C-AF70-8BD2EDFBB728}" type="sibTrans" cxnId="{F2006095-81CA-4FD7-9AD4-7859872CC869}">
      <dgm:prSet/>
      <dgm:spPr/>
      <dgm:t>
        <a:bodyPr/>
        <a:lstStyle/>
        <a:p>
          <a:endParaRPr lang="ru-RU" sz="1600"/>
        </a:p>
      </dgm:t>
    </dgm:pt>
    <dgm:pt modelId="{906A89AC-78E5-4556-8749-FCFA8F74829B}">
      <dgm:prSet custT="1"/>
      <dgm:spPr/>
      <dgm:t>
        <a:bodyPr/>
        <a:lstStyle/>
        <a:p>
          <a:r>
            <a:rPr lang="ru-RU" sz="1050" dirty="0" smtClean="0"/>
            <a:t>Федеральный проект 4</a:t>
          </a:r>
          <a:endParaRPr lang="ru-RU" sz="1050" dirty="0"/>
        </a:p>
      </dgm:t>
    </dgm:pt>
    <dgm:pt modelId="{A3A8013E-BB9A-4B58-8A94-A53C8F1F4780}" type="parTrans" cxnId="{E3982DAB-2864-4083-B974-158DB762AAA5}">
      <dgm:prSet custT="1"/>
      <dgm:spPr/>
      <dgm:t>
        <a:bodyPr/>
        <a:lstStyle/>
        <a:p>
          <a:endParaRPr lang="ru-RU" sz="400"/>
        </a:p>
      </dgm:t>
    </dgm:pt>
    <dgm:pt modelId="{304128F6-51AE-4CF5-A362-0CED3F721FCA}" type="sibTrans" cxnId="{E3982DAB-2864-4083-B974-158DB762AAA5}">
      <dgm:prSet/>
      <dgm:spPr/>
      <dgm:t>
        <a:bodyPr/>
        <a:lstStyle/>
        <a:p>
          <a:endParaRPr lang="ru-RU" sz="1600"/>
        </a:p>
      </dgm:t>
    </dgm:pt>
    <dgm:pt modelId="{FD675816-FC1D-4A78-8315-EA8096342D05}">
      <dgm:prSet custT="1"/>
      <dgm:spPr/>
      <dgm:t>
        <a:bodyPr/>
        <a:lstStyle/>
        <a:p>
          <a:r>
            <a:rPr lang="ru-RU" sz="1050" dirty="0" smtClean="0"/>
            <a:t>Федеральный проект 5 </a:t>
          </a:r>
          <a:endParaRPr lang="ru-RU" sz="1050" dirty="0"/>
        </a:p>
      </dgm:t>
    </dgm:pt>
    <dgm:pt modelId="{4850EA55-26EB-4B7F-91FE-69E725EB606E}" type="parTrans" cxnId="{E616891A-50FB-4B93-B2D3-B4E4FD36AC24}">
      <dgm:prSet custT="1"/>
      <dgm:spPr/>
      <dgm:t>
        <a:bodyPr/>
        <a:lstStyle/>
        <a:p>
          <a:endParaRPr lang="ru-RU" sz="400"/>
        </a:p>
      </dgm:t>
    </dgm:pt>
    <dgm:pt modelId="{0B64D6A0-730D-47FF-951F-D847952F3637}" type="sibTrans" cxnId="{E616891A-50FB-4B93-B2D3-B4E4FD36AC24}">
      <dgm:prSet/>
      <dgm:spPr/>
      <dgm:t>
        <a:bodyPr/>
        <a:lstStyle/>
        <a:p>
          <a:endParaRPr lang="ru-RU" sz="1600"/>
        </a:p>
      </dgm:t>
    </dgm:pt>
    <dgm:pt modelId="{F57B5E27-1C71-4E54-BF8A-A04D59BDE218}">
      <dgm:prSet custT="1"/>
      <dgm:spPr/>
      <dgm:t>
        <a:bodyPr/>
        <a:lstStyle/>
        <a:p>
          <a:r>
            <a:rPr lang="ru-RU" sz="1000" dirty="0" smtClean="0"/>
            <a:t>Региональный проект </a:t>
          </a:r>
          <a:endParaRPr lang="ru-RU" sz="1000" dirty="0"/>
        </a:p>
      </dgm:t>
    </dgm:pt>
    <dgm:pt modelId="{E3E5F1A6-A4E1-4AE5-8E68-38A1C6DB617F}" type="parTrans" cxnId="{0ADA72C3-FDF3-4C82-BAE6-37957002FCC9}">
      <dgm:prSet custT="1"/>
      <dgm:spPr/>
      <dgm:t>
        <a:bodyPr/>
        <a:lstStyle/>
        <a:p>
          <a:endParaRPr lang="ru-RU" sz="400"/>
        </a:p>
      </dgm:t>
    </dgm:pt>
    <dgm:pt modelId="{23FDDF31-04AC-4295-9D35-364CECA8E6E8}" type="sibTrans" cxnId="{0ADA72C3-FDF3-4C82-BAE6-37957002FCC9}">
      <dgm:prSet/>
      <dgm:spPr/>
      <dgm:t>
        <a:bodyPr/>
        <a:lstStyle/>
        <a:p>
          <a:endParaRPr lang="ru-RU" sz="1600"/>
        </a:p>
      </dgm:t>
    </dgm:pt>
    <dgm:pt modelId="{C5A44F5D-F8A0-494B-B888-FEDFF2D2CF27}">
      <dgm:prSet custT="1"/>
      <dgm:spPr/>
      <dgm:t>
        <a:bodyPr/>
        <a:lstStyle/>
        <a:p>
          <a:r>
            <a:rPr lang="ru-RU" sz="1000" dirty="0" smtClean="0"/>
            <a:t>Региональный проект </a:t>
          </a:r>
          <a:endParaRPr lang="ru-RU" sz="1000" dirty="0"/>
        </a:p>
      </dgm:t>
    </dgm:pt>
    <dgm:pt modelId="{63F5B534-5D44-4BEF-81D3-654EFDCEAE3A}" type="parTrans" cxnId="{50E70A53-B45F-4E14-BC15-D2996F821E09}">
      <dgm:prSet custT="1"/>
      <dgm:spPr/>
      <dgm:t>
        <a:bodyPr/>
        <a:lstStyle/>
        <a:p>
          <a:endParaRPr lang="ru-RU" sz="400"/>
        </a:p>
      </dgm:t>
    </dgm:pt>
    <dgm:pt modelId="{EE2120E7-0B77-4E10-8508-CF942EA4508A}" type="sibTrans" cxnId="{50E70A53-B45F-4E14-BC15-D2996F821E09}">
      <dgm:prSet/>
      <dgm:spPr/>
      <dgm:t>
        <a:bodyPr/>
        <a:lstStyle/>
        <a:p>
          <a:endParaRPr lang="ru-RU" sz="1600"/>
        </a:p>
      </dgm:t>
    </dgm:pt>
    <dgm:pt modelId="{61E74F49-E71E-44C3-80C5-655C9B9F028F}">
      <dgm:prSet custT="1"/>
      <dgm:spPr/>
      <dgm:t>
        <a:bodyPr/>
        <a:lstStyle/>
        <a:p>
          <a:r>
            <a:rPr lang="ru-RU" sz="1000" dirty="0" smtClean="0"/>
            <a:t>Региональный проект </a:t>
          </a:r>
          <a:endParaRPr lang="ru-RU" sz="1000" dirty="0"/>
        </a:p>
      </dgm:t>
    </dgm:pt>
    <dgm:pt modelId="{52ECA26B-E87F-483E-9C33-ECC3D9D83E4C}" type="parTrans" cxnId="{AD77F179-B60A-4D96-AE33-541B0F7888A2}">
      <dgm:prSet custT="1"/>
      <dgm:spPr/>
      <dgm:t>
        <a:bodyPr/>
        <a:lstStyle/>
        <a:p>
          <a:endParaRPr lang="ru-RU" sz="400"/>
        </a:p>
      </dgm:t>
    </dgm:pt>
    <dgm:pt modelId="{1BA9D780-B2E9-4433-A263-627D19565643}" type="sibTrans" cxnId="{AD77F179-B60A-4D96-AE33-541B0F7888A2}">
      <dgm:prSet/>
      <dgm:spPr/>
      <dgm:t>
        <a:bodyPr/>
        <a:lstStyle/>
        <a:p>
          <a:endParaRPr lang="ru-RU" sz="1600"/>
        </a:p>
      </dgm:t>
    </dgm:pt>
    <dgm:pt modelId="{4922E341-C709-4B1B-8429-A21DA5CF5243}">
      <dgm:prSet custT="1"/>
      <dgm:spPr>
        <a:solidFill>
          <a:schemeClr val="accent3">
            <a:lumMod val="20000"/>
            <a:lumOff val="8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80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Содействие занятости женщин - доступность дошкольного                  образования для детей в возрасте до трех лет</a:t>
          </a:r>
          <a:endParaRPr lang="ru-RU" sz="800" dirty="0"/>
        </a:p>
      </dgm:t>
    </dgm:pt>
    <dgm:pt modelId="{3C572D9B-9744-4A6D-9D38-B3625818A8A5}" type="parTrans" cxnId="{1AC7BA32-90D0-489F-B525-8862AA29476D}">
      <dgm:prSet custT="1"/>
      <dgm:spPr/>
      <dgm:t>
        <a:bodyPr/>
        <a:lstStyle/>
        <a:p>
          <a:endParaRPr lang="ru-RU" sz="400"/>
        </a:p>
      </dgm:t>
    </dgm:pt>
    <dgm:pt modelId="{7F055C88-434D-41DC-9862-0080426F2F4F}" type="sibTrans" cxnId="{1AC7BA32-90D0-489F-B525-8862AA29476D}">
      <dgm:prSet/>
      <dgm:spPr/>
      <dgm:t>
        <a:bodyPr/>
        <a:lstStyle/>
        <a:p>
          <a:endParaRPr lang="ru-RU" sz="1600"/>
        </a:p>
      </dgm:t>
    </dgm:pt>
    <dgm:pt modelId="{F15C45AB-E0CF-45C4-8D8F-088A9454D957}">
      <dgm:prSet custT="1"/>
      <dgm:spPr>
        <a:solidFill>
          <a:schemeClr val="accent3">
            <a:lumMod val="20000"/>
            <a:lumOff val="8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90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крепление общественного здоровья</a:t>
          </a:r>
          <a:endParaRPr lang="ru-RU" sz="900" dirty="0"/>
        </a:p>
      </dgm:t>
    </dgm:pt>
    <dgm:pt modelId="{89F578FA-D321-466B-9A67-0CFD3682FC08}" type="parTrans" cxnId="{F787879C-E052-495F-9468-668FC05AA450}">
      <dgm:prSet custT="1"/>
      <dgm:spPr/>
      <dgm:t>
        <a:bodyPr/>
        <a:lstStyle/>
        <a:p>
          <a:endParaRPr lang="ru-RU" sz="400"/>
        </a:p>
      </dgm:t>
    </dgm:pt>
    <dgm:pt modelId="{209C7D7F-F58C-467E-AC72-3A5895B4A33A}" type="sibTrans" cxnId="{F787879C-E052-495F-9468-668FC05AA450}">
      <dgm:prSet/>
      <dgm:spPr/>
      <dgm:t>
        <a:bodyPr/>
        <a:lstStyle/>
        <a:p>
          <a:endParaRPr lang="ru-RU" sz="1600"/>
        </a:p>
      </dgm:t>
    </dgm:pt>
    <dgm:pt modelId="{823EA3C2-9842-4507-882D-E78113CD987E}">
      <dgm:prSet custT="1"/>
      <dgm:spPr>
        <a:solidFill>
          <a:schemeClr val="accent3">
            <a:lumMod val="20000"/>
            <a:lumOff val="8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1000" b="1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Спорт - норма жизни</a:t>
          </a:r>
          <a:endParaRPr lang="ru-RU" sz="1000"/>
        </a:p>
      </dgm:t>
    </dgm:pt>
    <dgm:pt modelId="{8F4EF48F-3D0D-406A-944C-8A97336E7FB8}" type="parTrans" cxnId="{CD30239D-C7FD-46F2-B404-625E98BA9CBB}">
      <dgm:prSet custT="1"/>
      <dgm:spPr/>
      <dgm:t>
        <a:bodyPr/>
        <a:lstStyle/>
        <a:p>
          <a:endParaRPr lang="ru-RU" sz="400"/>
        </a:p>
      </dgm:t>
    </dgm:pt>
    <dgm:pt modelId="{0EE4684E-FEA2-40A2-8829-8C332D9FD5DF}" type="sibTrans" cxnId="{CD30239D-C7FD-46F2-B404-625E98BA9CBB}">
      <dgm:prSet/>
      <dgm:spPr/>
      <dgm:t>
        <a:bodyPr/>
        <a:lstStyle/>
        <a:p>
          <a:endParaRPr lang="ru-RU" sz="1600"/>
        </a:p>
      </dgm:t>
    </dgm:pt>
    <dgm:pt modelId="{5294F6FE-04F3-44B6-B7C5-A57761CF29B6}">
      <dgm:prSet custT="1"/>
      <dgm:spPr>
        <a:solidFill>
          <a:schemeClr val="accent1"/>
        </a:solidFill>
      </dgm:spPr>
      <dgm:t>
        <a:bodyPr/>
        <a:lstStyle/>
        <a:p>
          <a:r>
            <a:rPr lang="ru-RU" sz="900" dirty="0" smtClean="0"/>
            <a:t>Региональный  проект </a:t>
          </a:r>
          <a:endParaRPr lang="ru-RU" sz="900" dirty="0"/>
        </a:p>
      </dgm:t>
    </dgm:pt>
    <dgm:pt modelId="{8DB9F3AF-29A0-4697-9E7C-68E4098ABCD0}" type="parTrans" cxnId="{B75EC2B8-3A36-4943-92E2-818DC0A6BDC0}">
      <dgm:prSet custT="1"/>
      <dgm:spPr/>
      <dgm:t>
        <a:bodyPr/>
        <a:lstStyle/>
        <a:p>
          <a:endParaRPr lang="ru-RU" sz="300"/>
        </a:p>
      </dgm:t>
    </dgm:pt>
    <dgm:pt modelId="{AD092277-55E1-4DB4-B97F-1C3E9C7789A7}" type="sibTrans" cxnId="{B75EC2B8-3A36-4943-92E2-818DC0A6BDC0}">
      <dgm:prSet/>
      <dgm:spPr/>
      <dgm:t>
        <a:bodyPr/>
        <a:lstStyle/>
        <a:p>
          <a:endParaRPr lang="ru-RU" sz="1400"/>
        </a:p>
      </dgm:t>
    </dgm:pt>
    <dgm:pt modelId="{4EDADB06-CBD2-47FA-A216-C470F39637EE}">
      <dgm:prSet custT="1"/>
      <dgm:spPr>
        <a:solidFill>
          <a:schemeClr val="accent3">
            <a:lumMod val="20000"/>
            <a:lumOff val="8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1100" b="1" dirty="0" smtClean="0">
              <a:solidFill>
                <a:srgbClr val="002060"/>
              </a:solidFill>
            </a:rPr>
            <a:t>Старшее поколение </a:t>
          </a:r>
          <a:endParaRPr lang="ru-RU" sz="1100" b="1" dirty="0">
            <a:solidFill>
              <a:srgbClr val="002060"/>
            </a:solidFill>
          </a:endParaRPr>
        </a:p>
      </dgm:t>
    </dgm:pt>
    <dgm:pt modelId="{A0C700C9-E8FC-4DAB-A29D-0D90DD18A80B}" type="parTrans" cxnId="{D5B5246B-22F8-4452-AD5A-EC48EC7825A9}">
      <dgm:prSet custT="1"/>
      <dgm:spPr/>
      <dgm:t>
        <a:bodyPr/>
        <a:lstStyle/>
        <a:p>
          <a:endParaRPr lang="ru-RU" sz="300"/>
        </a:p>
      </dgm:t>
    </dgm:pt>
    <dgm:pt modelId="{5B0DFDFA-2671-46E8-B5C4-EBBEB6CDA5E9}" type="sibTrans" cxnId="{D5B5246B-22F8-4452-AD5A-EC48EC7825A9}">
      <dgm:prSet/>
      <dgm:spPr/>
      <dgm:t>
        <a:bodyPr/>
        <a:lstStyle/>
        <a:p>
          <a:endParaRPr lang="ru-RU" sz="1400"/>
        </a:p>
      </dgm:t>
    </dgm:pt>
    <dgm:pt modelId="{6DD02189-35EA-4AD7-AF42-B391D21DF58D}">
      <dgm:prSet custT="1"/>
      <dgm:spPr>
        <a:solidFill>
          <a:schemeClr val="accent3">
            <a:lumMod val="20000"/>
            <a:lumOff val="80000"/>
          </a:schemeClr>
        </a:solidFill>
        <a:ln>
          <a:solidFill>
            <a:schemeClr val="accent1"/>
          </a:solidFill>
        </a:ln>
      </dgm:spPr>
      <dgm:t>
        <a:bodyPr/>
        <a:lstStyle/>
        <a:p>
          <a:r>
            <a:rPr lang="ru-RU" sz="8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Финансовая поддержка семьи при рождении  детей </a:t>
          </a:r>
          <a:endParaRPr lang="ru-RU" sz="8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E4E96B0D-3125-4924-A4C8-3669388CA44C}" type="parTrans" cxnId="{C2BD6B10-22BD-4B95-BE39-29FA563F2810}">
      <dgm:prSet custT="1"/>
      <dgm:spPr/>
      <dgm:t>
        <a:bodyPr/>
        <a:lstStyle/>
        <a:p>
          <a:endParaRPr lang="ru-RU" sz="300"/>
        </a:p>
      </dgm:t>
    </dgm:pt>
    <dgm:pt modelId="{11FB4466-1262-461E-8F46-070CDAF61E48}" type="sibTrans" cxnId="{C2BD6B10-22BD-4B95-BE39-29FA563F2810}">
      <dgm:prSet/>
      <dgm:spPr/>
      <dgm:t>
        <a:bodyPr/>
        <a:lstStyle/>
        <a:p>
          <a:endParaRPr lang="ru-RU" sz="1400"/>
        </a:p>
      </dgm:t>
    </dgm:pt>
    <dgm:pt modelId="{2ECF6D43-6253-41E7-BE9D-2F9DC1068222}" type="pres">
      <dgm:prSet presAssocID="{4D7FED4D-3E35-495D-8A72-09C2228595F6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E82E955-8E6A-4B3E-A37E-101AEFC1FC98}" type="pres">
      <dgm:prSet presAssocID="{4D7FED4D-3E35-495D-8A72-09C2228595F6}" presName="hierFlow" presStyleCnt="0"/>
      <dgm:spPr/>
    </dgm:pt>
    <dgm:pt modelId="{C1527990-6EBC-4A6F-ACCB-1F0B2DF1402B}" type="pres">
      <dgm:prSet presAssocID="{4D7FED4D-3E35-495D-8A72-09C2228595F6}" presName="firstBuf" presStyleCnt="0"/>
      <dgm:spPr/>
    </dgm:pt>
    <dgm:pt modelId="{79039430-860C-4654-A699-3A0FF5C681CE}" type="pres">
      <dgm:prSet presAssocID="{4D7FED4D-3E35-495D-8A72-09C2228595F6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8A3290CE-38A1-4104-B87F-9F144FDB5F52}" type="pres">
      <dgm:prSet presAssocID="{24E47D29-0A73-4ABE-86A7-F431B0A5B5D4}" presName="Name17" presStyleCnt="0"/>
      <dgm:spPr/>
    </dgm:pt>
    <dgm:pt modelId="{023C1C32-E98E-4DF4-80CC-8D0E98687F2B}" type="pres">
      <dgm:prSet presAssocID="{24E47D29-0A73-4ABE-86A7-F431B0A5B5D4}" presName="level1Shape" presStyleLbl="node0" presStyleIdx="0" presStyleCnt="1" custScaleX="10869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B5FC3D3-6AF2-457D-8BC4-97889E6D0163}" type="pres">
      <dgm:prSet presAssocID="{24E47D29-0A73-4ABE-86A7-F431B0A5B5D4}" presName="hierChild2" presStyleCnt="0"/>
      <dgm:spPr/>
    </dgm:pt>
    <dgm:pt modelId="{C9C64458-EEF2-456B-B510-C3FF7A3B7A41}" type="pres">
      <dgm:prSet presAssocID="{24197423-43C2-4292-AD58-0C8261DA27BE}" presName="Name25" presStyleLbl="parChTrans1D2" presStyleIdx="0" presStyleCnt="5"/>
      <dgm:spPr/>
      <dgm:t>
        <a:bodyPr/>
        <a:lstStyle/>
        <a:p>
          <a:endParaRPr lang="ru-RU"/>
        </a:p>
      </dgm:t>
    </dgm:pt>
    <dgm:pt modelId="{C8A920D2-0934-4D94-A585-C34CEBA1C6B8}" type="pres">
      <dgm:prSet presAssocID="{24197423-43C2-4292-AD58-0C8261DA27BE}" presName="connTx" presStyleLbl="parChTrans1D2" presStyleIdx="0" presStyleCnt="5"/>
      <dgm:spPr/>
      <dgm:t>
        <a:bodyPr/>
        <a:lstStyle/>
        <a:p>
          <a:endParaRPr lang="ru-RU"/>
        </a:p>
      </dgm:t>
    </dgm:pt>
    <dgm:pt modelId="{2180CECB-D07F-4B3A-8914-A0DC2E137994}" type="pres">
      <dgm:prSet presAssocID="{F78A29D2-7C25-4623-B2C4-E95D06E9936A}" presName="Name30" presStyleCnt="0"/>
      <dgm:spPr/>
    </dgm:pt>
    <dgm:pt modelId="{E68BFD4E-9C59-4363-8DFD-C5C5DF17A14B}" type="pres">
      <dgm:prSet presAssocID="{F78A29D2-7C25-4623-B2C4-E95D06E9936A}" presName="level2Shape" presStyleLbl="node2" presStyleIdx="0" presStyleCnt="5" custLinFactNeighborY="-30654"/>
      <dgm:spPr/>
      <dgm:t>
        <a:bodyPr/>
        <a:lstStyle/>
        <a:p>
          <a:endParaRPr lang="ru-RU"/>
        </a:p>
      </dgm:t>
    </dgm:pt>
    <dgm:pt modelId="{87781746-335C-4BFD-B8E1-4B60B257D170}" type="pres">
      <dgm:prSet presAssocID="{F78A29D2-7C25-4623-B2C4-E95D06E9936A}" presName="hierChild3" presStyleCnt="0"/>
      <dgm:spPr/>
    </dgm:pt>
    <dgm:pt modelId="{2C7D457A-0E67-4158-9D4B-165AC1A4BAF0}" type="pres">
      <dgm:prSet presAssocID="{8DB9F3AF-29A0-4697-9E7C-68E4098ABCD0}" presName="Name25" presStyleLbl="parChTrans1D3" presStyleIdx="0" presStyleCnt="5"/>
      <dgm:spPr/>
      <dgm:t>
        <a:bodyPr/>
        <a:lstStyle/>
        <a:p>
          <a:endParaRPr lang="ru-RU"/>
        </a:p>
      </dgm:t>
    </dgm:pt>
    <dgm:pt modelId="{2D7690C6-6F15-48B8-9B58-E2A8611E2089}" type="pres">
      <dgm:prSet presAssocID="{8DB9F3AF-29A0-4697-9E7C-68E4098ABCD0}" presName="connTx" presStyleLbl="parChTrans1D3" presStyleIdx="0" presStyleCnt="5"/>
      <dgm:spPr/>
      <dgm:t>
        <a:bodyPr/>
        <a:lstStyle/>
        <a:p>
          <a:endParaRPr lang="ru-RU"/>
        </a:p>
      </dgm:t>
    </dgm:pt>
    <dgm:pt modelId="{BA17F717-D274-4BE3-A461-288C236E7B20}" type="pres">
      <dgm:prSet presAssocID="{5294F6FE-04F3-44B6-B7C5-A57761CF29B6}" presName="Name30" presStyleCnt="0"/>
      <dgm:spPr/>
    </dgm:pt>
    <dgm:pt modelId="{3A1116E9-2A7F-4450-A8CD-E31B8C162222}" type="pres">
      <dgm:prSet presAssocID="{5294F6FE-04F3-44B6-B7C5-A57761CF29B6}" presName="level2Shape" presStyleLbl="node3" presStyleIdx="0" presStyleCnt="5" custScaleX="90322" custLinFactNeighborY="-30624"/>
      <dgm:spPr/>
      <dgm:t>
        <a:bodyPr/>
        <a:lstStyle/>
        <a:p>
          <a:endParaRPr lang="ru-RU"/>
        </a:p>
      </dgm:t>
    </dgm:pt>
    <dgm:pt modelId="{C4B8DE7C-2CB5-434D-9C4D-2722F41CE47C}" type="pres">
      <dgm:prSet presAssocID="{5294F6FE-04F3-44B6-B7C5-A57761CF29B6}" presName="hierChild3" presStyleCnt="0"/>
      <dgm:spPr/>
    </dgm:pt>
    <dgm:pt modelId="{83F2EF84-21B5-4ACB-928A-E2DE7BCA7AD1}" type="pres">
      <dgm:prSet presAssocID="{E4E96B0D-3125-4924-A4C8-3669388CA44C}" presName="Name25" presStyleLbl="parChTrans1D4" presStyleIdx="0" presStyleCnt="5"/>
      <dgm:spPr/>
      <dgm:t>
        <a:bodyPr/>
        <a:lstStyle/>
        <a:p>
          <a:endParaRPr lang="ru-RU"/>
        </a:p>
      </dgm:t>
    </dgm:pt>
    <dgm:pt modelId="{271B7D0B-A127-43E4-BA91-4DC8CF37163A}" type="pres">
      <dgm:prSet presAssocID="{E4E96B0D-3125-4924-A4C8-3669388CA44C}" presName="connTx" presStyleLbl="parChTrans1D4" presStyleIdx="0" presStyleCnt="5"/>
      <dgm:spPr/>
      <dgm:t>
        <a:bodyPr/>
        <a:lstStyle/>
        <a:p>
          <a:endParaRPr lang="ru-RU"/>
        </a:p>
      </dgm:t>
    </dgm:pt>
    <dgm:pt modelId="{750C8618-4E6E-436C-84F1-673152D5E11E}" type="pres">
      <dgm:prSet presAssocID="{6DD02189-35EA-4AD7-AF42-B391D21DF58D}" presName="Name30" presStyleCnt="0"/>
      <dgm:spPr/>
    </dgm:pt>
    <dgm:pt modelId="{9B7C4B26-0237-45EE-9560-9486F1F8FC6E}" type="pres">
      <dgm:prSet presAssocID="{6DD02189-35EA-4AD7-AF42-B391D21DF58D}" presName="level2Shape" presStyleLbl="node4" presStyleIdx="0" presStyleCnt="5" custScaleX="172272" custLinFactNeighborX="5908" custLinFactNeighborY="-30385"/>
      <dgm:spPr/>
      <dgm:t>
        <a:bodyPr/>
        <a:lstStyle/>
        <a:p>
          <a:endParaRPr lang="ru-RU"/>
        </a:p>
      </dgm:t>
    </dgm:pt>
    <dgm:pt modelId="{0C1E894F-1607-4A94-8DD2-AB2D6BCF2047}" type="pres">
      <dgm:prSet presAssocID="{6DD02189-35EA-4AD7-AF42-B391D21DF58D}" presName="hierChild3" presStyleCnt="0"/>
      <dgm:spPr/>
    </dgm:pt>
    <dgm:pt modelId="{F62F0BA9-54F3-442C-9975-BF12688DEC1C}" type="pres">
      <dgm:prSet presAssocID="{96924FED-1109-4474-90E5-9AFADCA14700}" presName="Name25" presStyleLbl="parChTrans1D2" presStyleIdx="1" presStyleCnt="5"/>
      <dgm:spPr/>
      <dgm:t>
        <a:bodyPr/>
        <a:lstStyle/>
        <a:p>
          <a:endParaRPr lang="ru-RU"/>
        </a:p>
      </dgm:t>
    </dgm:pt>
    <dgm:pt modelId="{23A04E0A-DCC1-4E13-91FC-0486571B32C8}" type="pres">
      <dgm:prSet presAssocID="{96924FED-1109-4474-90E5-9AFADCA14700}" presName="connTx" presStyleLbl="parChTrans1D2" presStyleIdx="1" presStyleCnt="5"/>
      <dgm:spPr/>
      <dgm:t>
        <a:bodyPr/>
        <a:lstStyle/>
        <a:p>
          <a:endParaRPr lang="ru-RU"/>
        </a:p>
      </dgm:t>
    </dgm:pt>
    <dgm:pt modelId="{51EF16F1-8F0E-41E7-B857-E039B2804A85}" type="pres">
      <dgm:prSet presAssocID="{CA227BB9-FE76-49D1-BD3A-38429577BC7B}" presName="Name30" presStyleCnt="0"/>
      <dgm:spPr/>
    </dgm:pt>
    <dgm:pt modelId="{5CCF0B61-EE2C-45F9-B337-779545BF6403}" type="pres">
      <dgm:prSet presAssocID="{CA227BB9-FE76-49D1-BD3A-38429577BC7B}" presName="level2Shape" presStyleLbl="node2" presStyleIdx="1" presStyleCnt="5"/>
      <dgm:spPr/>
      <dgm:t>
        <a:bodyPr/>
        <a:lstStyle/>
        <a:p>
          <a:endParaRPr lang="ru-RU"/>
        </a:p>
      </dgm:t>
    </dgm:pt>
    <dgm:pt modelId="{2B64DA71-E6AC-4434-982E-B9A180076F56}" type="pres">
      <dgm:prSet presAssocID="{CA227BB9-FE76-49D1-BD3A-38429577BC7B}" presName="hierChild3" presStyleCnt="0"/>
      <dgm:spPr/>
    </dgm:pt>
    <dgm:pt modelId="{2C1E3150-BD4E-4C69-8F6F-302F70D8E79D}" type="pres">
      <dgm:prSet presAssocID="{D6C5F9EB-01AC-4E5B-8641-619E34757A7D}" presName="Name25" presStyleLbl="parChTrans1D3" presStyleIdx="1" presStyleCnt="5"/>
      <dgm:spPr/>
      <dgm:t>
        <a:bodyPr/>
        <a:lstStyle/>
        <a:p>
          <a:endParaRPr lang="ru-RU"/>
        </a:p>
      </dgm:t>
    </dgm:pt>
    <dgm:pt modelId="{72BCA1F3-1805-49A3-A9A4-234073669DE7}" type="pres">
      <dgm:prSet presAssocID="{D6C5F9EB-01AC-4E5B-8641-619E34757A7D}" presName="connTx" presStyleLbl="parChTrans1D3" presStyleIdx="1" presStyleCnt="5"/>
      <dgm:spPr/>
      <dgm:t>
        <a:bodyPr/>
        <a:lstStyle/>
        <a:p>
          <a:endParaRPr lang="ru-RU"/>
        </a:p>
      </dgm:t>
    </dgm:pt>
    <dgm:pt modelId="{65AFEF45-4DA5-45C4-A04C-16100D6BB303}" type="pres">
      <dgm:prSet presAssocID="{2AC3F621-9280-4D8E-9C40-8BD47942FCB0}" presName="Name30" presStyleCnt="0"/>
      <dgm:spPr/>
    </dgm:pt>
    <dgm:pt modelId="{9843C3FE-99C2-4CEF-866E-FB5151A6D7AA}" type="pres">
      <dgm:prSet presAssocID="{2AC3F621-9280-4D8E-9C40-8BD47942FCB0}" presName="level2Shape" presStyleLbl="node3" presStyleIdx="1" presStyleCnt="5"/>
      <dgm:spPr/>
      <dgm:t>
        <a:bodyPr/>
        <a:lstStyle/>
        <a:p>
          <a:endParaRPr lang="ru-RU"/>
        </a:p>
      </dgm:t>
    </dgm:pt>
    <dgm:pt modelId="{FE2E08D3-3F21-4F59-AC88-9F3AA623355D}" type="pres">
      <dgm:prSet presAssocID="{2AC3F621-9280-4D8E-9C40-8BD47942FCB0}" presName="hierChild3" presStyleCnt="0"/>
      <dgm:spPr/>
    </dgm:pt>
    <dgm:pt modelId="{7C882E0D-8545-4B17-B01E-E0443A60315E}" type="pres">
      <dgm:prSet presAssocID="{3C572D9B-9744-4A6D-9D38-B3625818A8A5}" presName="Name25" presStyleLbl="parChTrans1D4" presStyleIdx="1" presStyleCnt="5"/>
      <dgm:spPr/>
      <dgm:t>
        <a:bodyPr/>
        <a:lstStyle/>
        <a:p>
          <a:endParaRPr lang="ru-RU"/>
        </a:p>
      </dgm:t>
    </dgm:pt>
    <dgm:pt modelId="{DB28B242-72B3-43FA-A2B5-6184BADB9812}" type="pres">
      <dgm:prSet presAssocID="{3C572D9B-9744-4A6D-9D38-B3625818A8A5}" presName="connTx" presStyleLbl="parChTrans1D4" presStyleIdx="1" presStyleCnt="5"/>
      <dgm:spPr/>
      <dgm:t>
        <a:bodyPr/>
        <a:lstStyle/>
        <a:p>
          <a:endParaRPr lang="ru-RU"/>
        </a:p>
      </dgm:t>
    </dgm:pt>
    <dgm:pt modelId="{70CBAB3D-BEBF-41FF-837D-6C81DAD0FA19}" type="pres">
      <dgm:prSet presAssocID="{4922E341-C709-4B1B-8429-A21DA5CF5243}" presName="Name30" presStyleCnt="0"/>
      <dgm:spPr/>
    </dgm:pt>
    <dgm:pt modelId="{CB7B6421-1EE7-4030-8EAB-53374CA32105}" type="pres">
      <dgm:prSet presAssocID="{4922E341-C709-4B1B-8429-A21DA5CF5243}" presName="level2Shape" presStyleLbl="node4" presStyleIdx="1" presStyleCnt="5" custScaleX="169180" custScaleY="132250"/>
      <dgm:spPr/>
      <dgm:t>
        <a:bodyPr/>
        <a:lstStyle/>
        <a:p>
          <a:endParaRPr lang="ru-RU"/>
        </a:p>
      </dgm:t>
    </dgm:pt>
    <dgm:pt modelId="{3A94C47D-B8F8-497E-998E-F9A71C9D1963}" type="pres">
      <dgm:prSet presAssocID="{4922E341-C709-4B1B-8429-A21DA5CF5243}" presName="hierChild3" presStyleCnt="0"/>
      <dgm:spPr/>
    </dgm:pt>
    <dgm:pt modelId="{33B3037F-0353-40D5-9455-4B45D53CB1D9}" type="pres">
      <dgm:prSet presAssocID="{2E56B2AE-6B32-4154-BF79-4C9D7DB62CCF}" presName="Name25" presStyleLbl="parChTrans1D2" presStyleIdx="2" presStyleCnt="5"/>
      <dgm:spPr/>
      <dgm:t>
        <a:bodyPr/>
        <a:lstStyle/>
        <a:p>
          <a:endParaRPr lang="ru-RU"/>
        </a:p>
      </dgm:t>
    </dgm:pt>
    <dgm:pt modelId="{4257FBE2-FE70-4F3D-AFD8-7BF369AFEE37}" type="pres">
      <dgm:prSet presAssocID="{2E56B2AE-6B32-4154-BF79-4C9D7DB62CCF}" presName="connTx" presStyleLbl="parChTrans1D2" presStyleIdx="2" presStyleCnt="5"/>
      <dgm:spPr/>
      <dgm:t>
        <a:bodyPr/>
        <a:lstStyle/>
        <a:p>
          <a:endParaRPr lang="ru-RU"/>
        </a:p>
      </dgm:t>
    </dgm:pt>
    <dgm:pt modelId="{7B62DDAD-4DC5-40AC-88E5-34D07664AF5D}" type="pres">
      <dgm:prSet presAssocID="{F173DD03-4B9E-4C87-AA9D-8F9A035591A7}" presName="Name30" presStyleCnt="0"/>
      <dgm:spPr/>
    </dgm:pt>
    <dgm:pt modelId="{BB5169AC-9A36-4BC3-A7D9-233B66538575}" type="pres">
      <dgm:prSet presAssocID="{F173DD03-4B9E-4C87-AA9D-8F9A035591A7}" presName="level2Shape" presStyleLbl="node2" presStyleIdx="2" presStyleCnt="5"/>
      <dgm:spPr/>
      <dgm:t>
        <a:bodyPr/>
        <a:lstStyle/>
        <a:p>
          <a:endParaRPr lang="ru-RU"/>
        </a:p>
      </dgm:t>
    </dgm:pt>
    <dgm:pt modelId="{0BF3CA5D-3663-411F-A4E4-3CB6F485305D}" type="pres">
      <dgm:prSet presAssocID="{F173DD03-4B9E-4C87-AA9D-8F9A035591A7}" presName="hierChild3" presStyleCnt="0"/>
      <dgm:spPr/>
    </dgm:pt>
    <dgm:pt modelId="{0A8AFBFC-A36F-444E-B697-C2725DA9DF5F}" type="pres">
      <dgm:prSet presAssocID="{E3E5F1A6-A4E1-4AE5-8E68-38A1C6DB617F}" presName="Name25" presStyleLbl="parChTrans1D3" presStyleIdx="2" presStyleCnt="5"/>
      <dgm:spPr/>
      <dgm:t>
        <a:bodyPr/>
        <a:lstStyle/>
        <a:p>
          <a:endParaRPr lang="ru-RU"/>
        </a:p>
      </dgm:t>
    </dgm:pt>
    <dgm:pt modelId="{2C0BB061-499B-4DC4-ACEB-DF6FCBE8D36A}" type="pres">
      <dgm:prSet presAssocID="{E3E5F1A6-A4E1-4AE5-8E68-38A1C6DB617F}" presName="connTx" presStyleLbl="parChTrans1D3" presStyleIdx="2" presStyleCnt="5"/>
      <dgm:spPr/>
      <dgm:t>
        <a:bodyPr/>
        <a:lstStyle/>
        <a:p>
          <a:endParaRPr lang="ru-RU"/>
        </a:p>
      </dgm:t>
    </dgm:pt>
    <dgm:pt modelId="{2A08BBC7-87E9-4B9A-BBDF-3023C07655EC}" type="pres">
      <dgm:prSet presAssocID="{F57B5E27-1C71-4E54-BF8A-A04D59BDE218}" presName="Name30" presStyleCnt="0"/>
      <dgm:spPr/>
    </dgm:pt>
    <dgm:pt modelId="{7ECDFFBE-8588-46E7-ABB4-AC1FD0289920}" type="pres">
      <dgm:prSet presAssocID="{F57B5E27-1C71-4E54-BF8A-A04D59BDE218}" presName="level2Shape" presStyleLbl="node3" presStyleIdx="2" presStyleCnt="5"/>
      <dgm:spPr/>
      <dgm:t>
        <a:bodyPr/>
        <a:lstStyle/>
        <a:p>
          <a:endParaRPr lang="ru-RU"/>
        </a:p>
      </dgm:t>
    </dgm:pt>
    <dgm:pt modelId="{892DB3BA-EE85-4AED-BB19-05DCAD80BD5D}" type="pres">
      <dgm:prSet presAssocID="{F57B5E27-1C71-4E54-BF8A-A04D59BDE218}" presName="hierChild3" presStyleCnt="0"/>
      <dgm:spPr/>
    </dgm:pt>
    <dgm:pt modelId="{21B1B2B0-AF42-450D-9390-056297485BB9}" type="pres">
      <dgm:prSet presAssocID="{A0C700C9-E8FC-4DAB-A29D-0D90DD18A80B}" presName="Name25" presStyleLbl="parChTrans1D4" presStyleIdx="2" presStyleCnt="5"/>
      <dgm:spPr/>
      <dgm:t>
        <a:bodyPr/>
        <a:lstStyle/>
        <a:p>
          <a:endParaRPr lang="ru-RU"/>
        </a:p>
      </dgm:t>
    </dgm:pt>
    <dgm:pt modelId="{85DEF1C0-7AEC-4D70-8925-A7E28296F8EC}" type="pres">
      <dgm:prSet presAssocID="{A0C700C9-E8FC-4DAB-A29D-0D90DD18A80B}" presName="connTx" presStyleLbl="parChTrans1D4" presStyleIdx="2" presStyleCnt="5"/>
      <dgm:spPr/>
      <dgm:t>
        <a:bodyPr/>
        <a:lstStyle/>
        <a:p>
          <a:endParaRPr lang="ru-RU"/>
        </a:p>
      </dgm:t>
    </dgm:pt>
    <dgm:pt modelId="{0F07FB50-45D0-4DD5-A3C8-70EBC0E36E2F}" type="pres">
      <dgm:prSet presAssocID="{4EDADB06-CBD2-47FA-A216-C470F39637EE}" presName="Name30" presStyleCnt="0"/>
      <dgm:spPr/>
    </dgm:pt>
    <dgm:pt modelId="{52CD3E92-CF1E-4C82-A5A5-A55870C64127}" type="pres">
      <dgm:prSet presAssocID="{4EDADB06-CBD2-47FA-A216-C470F39637EE}" presName="level2Shape" presStyleLbl="node4" presStyleIdx="2" presStyleCnt="5" custScaleX="171745"/>
      <dgm:spPr/>
      <dgm:t>
        <a:bodyPr/>
        <a:lstStyle/>
        <a:p>
          <a:endParaRPr lang="ru-RU"/>
        </a:p>
      </dgm:t>
    </dgm:pt>
    <dgm:pt modelId="{561BC001-9B89-41BD-8271-8771610E83C6}" type="pres">
      <dgm:prSet presAssocID="{4EDADB06-CBD2-47FA-A216-C470F39637EE}" presName="hierChild3" presStyleCnt="0"/>
      <dgm:spPr/>
    </dgm:pt>
    <dgm:pt modelId="{7F5EF9FB-E1F7-4423-B582-8883FF340FEC}" type="pres">
      <dgm:prSet presAssocID="{A3A8013E-BB9A-4B58-8A94-A53C8F1F4780}" presName="Name25" presStyleLbl="parChTrans1D2" presStyleIdx="3" presStyleCnt="5"/>
      <dgm:spPr/>
      <dgm:t>
        <a:bodyPr/>
        <a:lstStyle/>
        <a:p>
          <a:endParaRPr lang="ru-RU"/>
        </a:p>
      </dgm:t>
    </dgm:pt>
    <dgm:pt modelId="{80877295-E2AD-4E94-98A4-DDBC92011708}" type="pres">
      <dgm:prSet presAssocID="{A3A8013E-BB9A-4B58-8A94-A53C8F1F4780}" presName="connTx" presStyleLbl="parChTrans1D2" presStyleIdx="3" presStyleCnt="5"/>
      <dgm:spPr/>
      <dgm:t>
        <a:bodyPr/>
        <a:lstStyle/>
        <a:p>
          <a:endParaRPr lang="ru-RU"/>
        </a:p>
      </dgm:t>
    </dgm:pt>
    <dgm:pt modelId="{1C02F19E-2C92-4927-9EF4-DFBABB39DEBC}" type="pres">
      <dgm:prSet presAssocID="{906A89AC-78E5-4556-8749-FCFA8F74829B}" presName="Name30" presStyleCnt="0"/>
      <dgm:spPr/>
    </dgm:pt>
    <dgm:pt modelId="{B970E819-BD34-4AFA-9090-5E1906F1CDC0}" type="pres">
      <dgm:prSet presAssocID="{906A89AC-78E5-4556-8749-FCFA8F74829B}" presName="level2Shape" presStyleLbl="node2" presStyleIdx="3" presStyleCnt="5"/>
      <dgm:spPr/>
      <dgm:t>
        <a:bodyPr/>
        <a:lstStyle/>
        <a:p>
          <a:endParaRPr lang="ru-RU"/>
        </a:p>
      </dgm:t>
    </dgm:pt>
    <dgm:pt modelId="{C788120F-99CF-452D-BAB2-8A8CA95C5E03}" type="pres">
      <dgm:prSet presAssocID="{906A89AC-78E5-4556-8749-FCFA8F74829B}" presName="hierChild3" presStyleCnt="0"/>
      <dgm:spPr/>
    </dgm:pt>
    <dgm:pt modelId="{85BAB9CD-2C56-4249-B027-D302141AC5D1}" type="pres">
      <dgm:prSet presAssocID="{63F5B534-5D44-4BEF-81D3-654EFDCEAE3A}" presName="Name25" presStyleLbl="parChTrans1D3" presStyleIdx="3" presStyleCnt="5"/>
      <dgm:spPr/>
      <dgm:t>
        <a:bodyPr/>
        <a:lstStyle/>
        <a:p>
          <a:endParaRPr lang="ru-RU"/>
        </a:p>
      </dgm:t>
    </dgm:pt>
    <dgm:pt modelId="{1ACF397D-A264-4C5F-AF1C-18EF3817B851}" type="pres">
      <dgm:prSet presAssocID="{63F5B534-5D44-4BEF-81D3-654EFDCEAE3A}" presName="connTx" presStyleLbl="parChTrans1D3" presStyleIdx="3" presStyleCnt="5"/>
      <dgm:spPr/>
      <dgm:t>
        <a:bodyPr/>
        <a:lstStyle/>
        <a:p>
          <a:endParaRPr lang="ru-RU"/>
        </a:p>
      </dgm:t>
    </dgm:pt>
    <dgm:pt modelId="{C442C8F2-DCA8-41F2-A68A-10805A7F76B3}" type="pres">
      <dgm:prSet presAssocID="{C5A44F5D-F8A0-494B-B888-FEDFF2D2CF27}" presName="Name30" presStyleCnt="0"/>
      <dgm:spPr/>
    </dgm:pt>
    <dgm:pt modelId="{59BEC963-C2BA-46F2-9687-BA5266E02D08}" type="pres">
      <dgm:prSet presAssocID="{C5A44F5D-F8A0-494B-B888-FEDFF2D2CF27}" presName="level2Shape" presStyleLbl="node3" presStyleIdx="3" presStyleCnt="5"/>
      <dgm:spPr/>
      <dgm:t>
        <a:bodyPr/>
        <a:lstStyle/>
        <a:p>
          <a:endParaRPr lang="ru-RU"/>
        </a:p>
      </dgm:t>
    </dgm:pt>
    <dgm:pt modelId="{266ABFE1-5816-4EEB-86BA-2EB4A10DEC1E}" type="pres">
      <dgm:prSet presAssocID="{C5A44F5D-F8A0-494B-B888-FEDFF2D2CF27}" presName="hierChild3" presStyleCnt="0"/>
      <dgm:spPr/>
    </dgm:pt>
    <dgm:pt modelId="{09D8AF1C-8F73-412F-B798-FBE9273E6048}" type="pres">
      <dgm:prSet presAssocID="{89F578FA-D321-466B-9A67-0CFD3682FC08}" presName="Name25" presStyleLbl="parChTrans1D4" presStyleIdx="3" presStyleCnt="5"/>
      <dgm:spPr/>
      <dgm:t>
        <a:bodyPr/>
        <a:lstStyle/>
        <a:p>
          <a:endParaRPr lang="ru-RU"/>
        </a:p>
      </dgm:t>
    </dgm:pt>
    <dgm:pt modelId="{5A971821-7571-434E-993A-9182A836F6C5}" type="pres">
      <dgm:prSet presAssocID="{89F578FA-D321-466B-9A67-0CFD3682FC08}" presName="connTx" presStyleLbl="parChTrans1D4" presStyleIdx="3" presStyleCnt="5"/>
      <dgm:spPr/>
      <dgm:t>
        <a:bodyPr/>
        <a:lstStyle/>
        <a:p>
          <a:endParaRPr lang="ru-RU"/>
        </a:p>
      </dgm:t>
    </dgm:pt>
    <dgm:pt modelId="{467BF58F-987C-4EC2-BC66-2C9D4DF38C36}" type="pres">
      <dgm:prSet presAssocID="{F15C45AB-E0CF-45C4-8D8F-088A9454D957}" presName="Name30" presStyleCnt="0"/>
      <dgm:spPr/>
    </dgm:pt>
    <dgm:pt modelId="{9E55A246-FB46-4D52-8D89-52045CFE6B0E}" type="pres">
      <dgm:prSet presAssocID="{F15C45AB-E0CF-45C4-8D8F-088A9454D957}" presName="level2Shape" presStyleLbl="node4" presStyleIdx="3" presStyleCnt="5" custScaleX="168339"/>
      <dgm:spPr/>
      <dgm:t>
        <a:bodyPr/>
        <a:lstStyle/>
        <a:p>
          <a:endParaRPr lang="ru-RU"/>
        </a:p>
      </dgm:t>
    </dgm:pt>
    <dgm:pt modelId="{CF2CAD74-EA2B-4256-AE8A-3FDDE6FDCD23}" type="pres">
      <dgm:prSet presAssocID="{F15C45AB-E0CF-45C4-8D8F-088A9454D957}" presName="hierChild3" presStyleCnt="0"/>
      <dgm:spPr/>
    </dgm:pt>
    <dgm:pt modelId="{7EB509E0-8377-46C3-AFC1-007A97378EDC}" type="pres">
      <dgm:prSet presAssocID="{4850EA55-26EB-4B7F-91FE-69E725EB606E}" presName="Name25" presStyleLbl="parChTrans1D2" presStyleIdx="4" presStyleCnt="5"/>
      <dgm:spPr/>
      <dgm:t>
        <a:bodyPr/>
        <a:lstStyle/>
        <a:p>
          <a:endParaRPr lang="ru-RU"/>
        </a:p>
      </dgm:t>
    </dgm:pt>
    <dgm:pt modelId="{6492D61B-2B16-4505-B3FF-3254621DFBA9}" type="pres">
      <dgm:prSet presAssocID="{4850EA55-26EB-4B7F-91FE-69E725EB606E}" presName="connTx" presStyleLbl="parChTrans1D2" presStyleIdx="4" presStyleCnt="5"/>
      <dgm:spPr/>
      <dgm:t>
        <a:bodyPr/>
        <a:lstStyle/>
        <a:p>
          <a:endParaRPr lang="ru-RU"/>
        </a:p>
      </dgm:t>
    </dgm:pt>
    <dgm:pt modelId="{C3ADB865-9CB8-4DF9-87A6-73775D4AACB7}" type="pres">
      <dgm:prSet presAssocID="{FD675816-FC1D-4A78-8315-EA8096342D05}" presName="Name30" presStyleCnt="0"/>
      <dgm:spPr/>
    </dgm:pt>
    <dgm:pt modelId="{91793AA9-7ADC-40CE-9373-6F2D90EB8B1F}" type="pres">
      <dgm:prSet presAssocID="{FD675816-FC1D-4A78-8315-EA8096342D05}" presName="level2Shape" presStyleLbl="node2" presStyleIdx="4" presStyleCnt="5"/>
      <dgm:spPr/>
      <dgm:t>
        <a:bodyPr/>
        <a:lstStyle/>
        <a:p>
          <a:endParaRPr lang="ru-RU"/>
        </a:p>
      </dgm:t>
    </dgm:pt>
    <dgm:pt modelId="{D6CCFA25-5D94-4BD7-88D0-B1F87A3B1290}" type="pres">
      <dgm:prSet presAssocID="{FD675816-FC1D-4A78-8315-EA8096342D05}" presName="hierChild3" presStyleCnt="0"/>
      <dgm:spPr/>
    </dgm:pt>
    <dgm:pt modelId="{13CAD69F-0294-49F4-B2C7-4A2DE6F5F7B6}" type="pres">
      <dgm:prSet presAssocID="{52ECA26B-E87F-483E-9C33-ECC3D9D83E4C}" presName="Name25" presStyleLbl="parChTrans1D3" presStyleIdx="4" presStyleCnt="5"/>
      <dgm:spPr/>
      <dgm:t>
        <a:bodyPr/>
        <a:lstStyle/>
        <a:p>
          <a:endParaRPr lang="ru-RU"/>
        </a:p>
      </dgm:t>
    </dgm:pt>
    <dgm:pt modelId="{7C62450C-E4E8-48D5-99AB-82391E1D7ADF}" type="pres">
      <dgm:prSet presAssocID="{52ECA26B-E87F-483E-9C33-ECC3D9D83E4C}" presName="connTx" presStyleLbl="parChTrans1D3" presStyleIdx="4" presStyleCnt="5"/>
      <dgm:spPr/>
      <dgm:t>
        <a:bodyPr/>
        <a:lstStyle/>
        <a:p>
          <a:endParaRPr lang="ru-RU"/>
        </a:p>
      </dgm:t>
    </dgm:pt>
    <dgm:pt modelId="{842D05C0-F31D-4570-BE31-D00263CA027F}" type="pres">
      <dgm:prSet presAssocID="{61E74F49-E71E-44C3-80C5-655C9B9F028F}" presName="Name30" presStyleCnt="0"/>
      <dgm:spPr/>
    </dgm:pt>
    <dgm:pt modelId="{7E36CD7C-7949-4E01-834E-665F2F8260D0}" type="pres">
      <dgm:prSet presAssocID="{61E74F49-E71E-44C3-80C5-655C9B9F028F}" presName="level2Shape" presStyleLbl="node3" presStyleIdx="4" presStyleCnt="5"/>
      <dgm:spPr/>
      <dgm:t>
        <a:bodyPr/>
        <a:lstStyle/>
        <a:p>
          <a:endParaRPr lang="ru-RU"/>
        </a:p>
      </dgm:t>
    </dgm:pt>
    <dgm:pt modelId="{F2CD1949-7802-430A-9395-63AA7DE14272}" type="pres">
      <dgm:prSet presAssocID="{61E74F49-E71E-44C3-80C5-655C9B9F028F}" presName="hierChild3" presStyleCnt="0"/>
      <dgm:spPr/>
    </dgm:pt>
    <dgm:pt modelId="{EE116C6F-4814-479A-9D97-B15C53B9E492}" type="pres">
      <dgm:prSet presAssocID="{8F4EF48F-3D0D-406A-944C-8A97336E7FB8}" presName="Name25" presStyleLbl="parChTrans1D4" presStyleIdx="4" presStyleCnt="5"/>
      <dgm:spPr/>
      <dgm:t>
        <a:bodyPr/>
        <a:lstStyle/>
        <a:p>
          <a:endParaRPr lang="ru-RU"/>
        </a:p>
      </dgm:t>
    </dgm:pt>
    <dgm:pt modelId="{C77DC501-D9FF-407D-9DC1-350465D5301B}" type="pres">
      <dgm:prSet presAssocID="{8F4EF48F-3D0D-406A-944C-8A97336E7FB8}" presName="connTx" presStyleLbl="parChTrans1D4" presStyleIdx="4" presStyleCnt="5"/>
      <dgm:spPr/>
      <dgm:t>
        <a:bodyPr/>
        <a:lstStyle/>
        <a:p>
          <a:endParaRPr lang="ru-RU"/>
        </a:p>
      </dgm:t>
    </dgm:pt>
    <dgm:pt modelId="{F00A1E5B-9256-4D68-A53E-43B3CE36E56A}" type="pres">
      <dgm:prSet presAssocID="{823EA3C2-9842-4507-882D-E78113CD987E}" presName="Name30" presStyleCnt="0"/>
      <dgm:spPr/>
    </dgm:pt>
    <dgm:pt modelId="{72FFB183-A5A6-40B0-9C01-BE675B24A911}" type="pres">
      <dgm:prSet presAssocID="{823EA3C2-9842-4507-882D-E78113CD987E}" presName="level2Shape" presStyleLbl="node4" presStyleIdx="4" presStyleCnt="5" custScaleX="168484"/>
      <dgm:spPr/>
      <dgm:t>
        <a:bodyPr/>
        <a:lstStyle/>
        <a:p>
          <a:endParaRPr lang="ru-RU"/>
        </a:p>
      </dgm:t>
    </dgm:pt>
    <dgm:pt modelId="{78DBCAF4-1662-435D-AF2B-56A9598E58A5}" type="pres">
      <dgm:prSet presAssocID="{823EA3C2-9842-4507-882D-E78113CD987E}" presName="hierChild3" presStyleCnt="0"/>
      <dgm:spPr/>
    </dgm:pt>
    <dgm:pt modelId="{2D33B812-A653-4B22-9E47-51956F6D72A5}" type="pres">
      <dgm:prSet presAssocID="{4D7FED4D-3E35-495D-8A72-09C2228595F6}" presName="bgShapesFlow" presStyleCnt="0"/>
      <dgm:spPr/>
    </dgm:pt>
    <dgm:pt modelId="{9BD777EA-A285-405C-8948-284BC3F33160}" type="pres">
      <dgm:prSet presAssocID="{D373D83B-15DC-43B4-8223-B131B7207E23}" presName="rectComp" presStyleCnt="0"/>
      <dgm:spPr/>
    </dgm:pt>
    <dgm:pt modelId="{EA5AF553-9687-45E9-971C-58F649A535F3}" type="pres">
      <dgm:prSet presAssocID="{D373D83B-15DC-43B4-8223-B131B7207E23}" presName="bgRect" presStyleLbl="bgShp" presStyleIdx="0" presStyleCnt="3" custScaleX="105042" custScaleY="89526"/>
      <dgm:spPr/>
      <dgm:t>
        <a:bodyPr/>
        <a:lstStyle/>
        <a:p>
          <a:endParaRPr lang="ru-RU"/>
        </a:p>
      </dgm:t>
    </dgm:pt>
    <dgm:pt modelId="{784797D6-6B78-4233-8F66-16AD4A110FDE}" type="pres">
      <dgm:prSet presAssocID="{D373D83B-15DC-43B4-8223-B131B7207E23}" presName="bgRectTx" presStyleLbl="bgShp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BE3D14-EC2F-4B24-A3EE-BB60B3FBD24D}" type="pres">
      <dgm:prSet presAssocID="{D373D83B-15DC-43B4-8223-B131B7207E23}" presName="spComp" presStyleCnt="0"/>
      <dgm:spPr/>
    </dgm:pt>
    <dgm:pt modelId="{0C9B0378-BA84-48B4-A18A-D373F2CC4043}" type="pres">
      <dgm:prSet presAssocID="{D373D83B-15DC-43B4-8223-B131B7207E23}" presName="hSp" presStyleCnt="0"/>
      <dgm:spPr/>
    </dgm:pt>
    <dgm:pt modelId="{FC5DF489-9D7F-4445-87B0-F1B1A723D621}" type="pres">
      <dgm:prSet presAssocID="{17BF242E-B8D4-421D-B6F9-11F55EE71012}" presName="rectComp" presStyleCnt="0"/>
      <dgm:spPr/>
    </dgm:pt>
    <dgm:pt modelId="{BBDEF70A-50B4-4B17-BA39-5B0876FCF49F}" type="pres">
      <dgm:prSet presAssocID="{17BF242E-B8D4-421D-B6F9-11F55EE71012}" presName="bgRect" presStyleLbl="bgShp" presStyleIdx="1" presStyleCnt="3" custScaleY="91148"/>
      <dgm:spPr/>
      <dgm:t>
        <a:bodyPr/>
        <a:lstStyle/>
        <a:p>
          <a:endParaRPr lang="ru-RU"/>
        </a:p>
      </dgm:t>
    </dgm:pt>
    <dgm:pt modelId="{D1DE1374-C09A-44D3-8835-E10E1234A73A}" type="pres">
      <dgm:prSet presAssocID="{17BF242E-B8D4-421D-B6F9-11F55EE71012}" presName="bgRectTx" presStyleLbl="bgShp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E74408-1E7E-45ED-B289-0A04FEFDD522}" type="pres">
      <dgm:prSet presAssocID="{17BF242E-B8D4-421D-B6F9-11F55EE71012}" presName="spComp" presStyleCnt="0"/>
      <dgm:spPr/>
    </dgm:pt>
    <dgm:pt modelId="{E43548A5-EB70-4B2D-912C-99EEBE992A27}" type="pres">
      <dgm:prSet presAssocID="{17BF242E-B8D4-421D-B6F9-11F55EE71012}" presName="hSp" presStyleCnt="0"/>
      <dgm:spPr/>
    </dgm:pt>
    <dgm:pt modelId="{36021848-8DD0-4A12-97FD-893FC7BED405}" type="pres">
      <dgm:prSet presAssocID="{512F068E-02D5-440A-9BF2-726FAF5184A0}" presName="rectComp" presStyleCnt="0"/>
      <dgm:spPr/>
    </dgm:pt>
    <dgm:pt modelId="{A2ED6BD0-0450-4D2B-94B9-CD37F8652BD4}" type="pres">
      <dgm:prSet presAssocID="{512F068E-02D5-440A-9BF2-726FAF5184A0}" presName="bgRect" presStyleLbl="bgShp" presStyleIdx="2" presStyleCnt="3" custScaleY="89850"/>
      <dgm:spPr/>
      <dgm:t>
        <a:bodyPr/>
        <a:lstStyle/>
        <a:p>
          <a:endParaRPr lang="ru-RU"/>
        </a:p>
      </dgm:t>
    </dgm:pt>
    <dgm:pt modelId="{E8F1E271-8944-4DAB-8B94-C6C8642EE2DB}" type="pres">
      <dgm:prSet presAssocID="{512F068E-02D5-440A-9BF2-726FAF5184A0}" presName="bgRectTx" presStyleLbl="bgShp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34EC1FD-6A35-41B9-BCA1-5D7AE2B470CE}" type="presOf" srcId="{E3E5F1A6-A4E1-4AE5-8E68-38A1C6DB617F}" destId="{2C0BB061-499B-4DC4-ACEB-DF6FCBE8D36A}" srcOrd="1" destOrd="0" presId="urn:microsoft.com/office/officeart/2005/8/layout/hierarchy5"/>
    <dgm:cxn modelId="{5985E88A-A05E-420C-9306-9E41C72BA988}" type="presOf" srcId="{63F5B534-5D44-4BEF-81D3-654EFDCEAE3A}" destId="{1ACF397D-A264-4C5F-AF1C-18EF3817B851}" srcOrd="1" destOrd="0" presId="urn:microsoft.com/office/officeart/2005/8/layout/hierarchy5"/>
    <dgm:cxn modelId="{57604308-C33F-4833-A572-9D63D29CD026}" type="presOf" srcId="{F173DD03-4B9E-4C87-AA9D-8F9A035591A7}" destId="{BB5169AC-9A36-4BC3-A7D9-233B66538575}" srcOrd="0" destOrd="0" presId="urn:microsoft.com/office/officeart/2005/8/layout/hierarchy5"/>
    <dgm:cxn modelId="{098CFBBB-75E1-4DF7-AFA0-2A28FBF2222A}" type="presOf" srcId="{89F578FA-D321-466B-9A67-0CFD3682FC08}" destId="{09D8AF1C-8F73-412F-B798-FBE9273E6048}" srcOrd="0" destOrd="0" presId="urn:microsoft.com/office/officeart/2005/8/layout/hierarchy5"/>
    <dgm:cxn modelId="{D4690DE5-43F3-4155-BB4B-7CB94207192A}" type="presOf" srcId="{F15C45AB-E0CF-45C4-8D8F-088A9454D957}" destId="{9E55A246-FB46-4D52-8D89-52045CFE6B0E}" srcOrd="0" destOrd="0" presId="urn:microsoft.com/office/officeart/2005/8/layout/hierarchy5"/>
    <dgm:cxn modelId="{3A7D0A40-ED2F-4C9F-9652-C5FEDAF6EE28}" type="presOf" srcId="{A3A8013E-BB9A-4B58-8A94-A53C8F1F4780}" destId="{7F5EF9FB-E1F7-4423-B582-8883FF340FEC}" srcOrd="0" destOrd="0" presId="urn:microsoft.com/office/officeart/2005/8/layout/hierarchy5"/>
    <dgm:cxn modelId="{3E9E1788-D0CF-415C-8179-A11FB54A8D8D}" type="presOf" srcId="{8F4EF48F-3D0D-406A-944C-8A97336E7FB8}" destId="{EE116C6F-4814-479A-9D97-B15C53B9E492}" srcOrd="0" destOrd="0" presId="urn:microsoft.com/office/officeart/2005/8/layout/hierarchy5"/>
    <dgm:cxn modelId="{FE893487-C669-4918-BD01-7F23D5BCF808}" type="presOf" srcId="{A3A8013E-BB9A-4B58-8A94-A53C8F1F4780}" destId="{80877295-E2AD-4E94-98A4-DDBC92011708}" srcOrd="1" destOrd="0" presId="urn:microsoft.com/office/officeart/2005/8/layout/hierarchy5"/>
    <dgm:cxn modelId="{B8C0224F-8968-4585-BB57-83EFB7C7F0CD}" type="presOf" srcId="{2AC3F621-9280-4D8E-9C40-8BD47942FCB0}" destId="{9843C3FE-99C2-4CEF-866E-FB5151A6D7AA}" srcOrd="0" destOrd="0" presId="urn:microsoft.com/office/officeart/2005/8/layout/hierarchy5"/>
    <dgm:cxn modelId="{6751EB05-A5B8-4BD9-BD38-2C24F5B1B745}" type="presOf" srcId="{4922E341-C709-4B1B-8429-A21DA5CF5243}" destId="{CB7B6421-1EE7-4030-8EAB-53374CA32105}" srcOrd="0" destOrd="0" presId="urn:microsoft.com/office/officeart/2005/8/layout/hierarchy5"/>
    <dgm:cxn modelId="{50E70A53-B45F-4E14-BC15-D2996F821E09}" srcId="{906A89AC-78E5-4556-8749-FCFA8F74829B}" destId="{C5A44F5D-F8A0-494B-B888-FEDFF2D2CF27}" srcOrd="0" destOrd="0" parTransId="{63F5B534-5D44-4BEF-81D3-654EFDCEAE3A}" sibTransId="{EE2120E7-0B77-4E10-8508-CF942EA4508A}"/>
    <dgm:cxn modelId="{E7723C48-7451-40F1-9041-E5667476D13B}" type="presOf" srcId="{52ECA26B-E87F-483E-9C33-ECC3D9D83E4C}" destId="{13CAD69F-0294-49F4-B2C7-4A2DE6F5F7B6}" srcOrd="0" destOrd="0" presId="urn:microsoft.com/office/officeart/2005/8/layout/hierarchy5"/>
    <dgm:cxn modelId="{8DC99CE2-EDDE-4549-A330-14102E8A7E76}" type="presOf" srcId="{17BF242E-B8D4-421D-B6F9-11F55EE71012}" destId="{BBDEF70A-50B4-4B17-BA39-5B0876FCF49F}" srcOrd="0" destOrd="0" presId="urn:microsoft.com/office/officeart/2005/8/layout/hierarchy5"/>
    <dgm:cxn modelId="{66CFC209-C3B6-470E-93DE-EB201F53FF26}" type="presOf" srcId="{A0C700C9-E8FC-4DAB-A29D-0D90DD18A80B}" destId="{21B1B2B0-AF42-450D-9390-056297485BB9}" srcOrd="0" destOrd="0" presId="urn:microsoft.com/office/officeart/2005/8/layout/hierarchy5"/>
    <dgm:cxn modelId="{D5B5246B-22F8-4452-AD5A-EC48EC7825A9}" srcId="{F57B5E27-1C71-4E54-BF8A-A04D59BDE218}" destId="{4EDADB06-CBD2-47FA-A216-C470F39637EE}" srcOrd="0" destOrd="0" parTransId="{A0C700C9-E8FC-4DAB-A29D-0D90DD18A80B}" sibTransId="{5B0DFDFA-2671-46E8-B5C4-EBBEB6CDA5E9}"/>
    <dgm:cxn modelId="{4C3CDDCD-1C79-4699-9287-8813AAC89569}" srcId="{CA227BB9-FE76-49D1-BD3A-38429577BC7B}" destId="{2AC3F621-9280-4D8E-9C40-8BD47942FCB0}" srcOrd="0" destOrd="0" parTransId="{D6C5F9EB-01AC-4E5B-8641-619E34757A7D}" sibTransId="{CCC24D82-EB37-482E-80BF-F4143CBEF394}"/>
    <dgm:cxn modelId="{75C38B7A-B4AF-47AE-B74E-B0EDF9CAB333}" type="presOf" srcId="{61E74F49-E71E-44C3-80C5-655C9B9F028F}" destId="{7E36CD7C-7949-4E01-834E-665F2F8260D0}" srcOrd="0" destOrd="0" presId="urn:microsoft.com/office/officeart/2005/8/layout/hierarchy5"/>
    <dgm:cxn modelId="{B5099E42-5E99-4AF5-9C1A-DD2FAEBE13AD}" type="presOf" srcId="{52ECA26B-E87F-483E-9C33-ECC3D9D83E4C}" destId="{7C62450C-E4E8-48D5-99AB-82391E1D7ADF}" srcOrd="1" destOrd="0" presId="urn:microsoft.com/office/officeart/2005/8/layout/hierarchy5"/>
    <dgm:cxn modelId="{00C08099-F9A3-47A9-BBF9-CACB368F57A5}" type="presOf" srcId="{4EDADB06-CBD2-47FA-A216-C470F39637EE}" destId="{52CD3E92-CF1E-4C82-A5A5-A55870C64127}" srcOrd="0" destOrd="0" presId="urn:microsoft.com/office/officeart/2005/8/layout/hierarchy5"/>
    <dgm:cxn modelId="{FC12CCA8-2B28-4692-8811-4573C3692B26}" type="presOf" srcId="{24197423-43C2-4292-AD58-0C8261DA27BE}" destId="{C9C64458-EEF2-456B-B510-C3FF7A3B7A41}" srcOrd="0" destOrd="0" presId="urn:microsoft.com/office/officeart/2005/8/layout/hierarchy5"/>
    <dgm:cxn modelId="{DFB4EA8C-25B8-49C7-8CF8-3176C8AD3AF6}" type="presOf" srcId="{D6C5F9EB-01AC-4E5B-8641-619E34757A7D}" destId="{72BCA1F3-1805-49A3-A9A4-234073669DE7}" srcOrd="1" destOrd="0" presId="urn:microsoft.com/office/officeart/2005/8/layout/hierarchy5"/>
    <dgm:cxn modelId="{E3982DAB-2864-4083-B974-158DB762AAA5}" srcId="{24E47D29-0A73-4ABE-86A7-F431B0A5B5D4}" destId="{906A89AC-78E5-4556-8749-FCFA8F74829B}" srcOrd="3" destOrd="0" parTransId="{A3A8013E-BB9A-4B58-8A94-A53C8F1F4780}" sibTransId="{304128F6-51AE-4CF5-A362-0CED3F721FCA}"/>
    <dgm:cxn modelId="{D8A37275-30D7-4BF5-9AC9-4568DD522F74}" type="presOf" srcId="{2E56B2AE-6B32-4154-BF79-4C9D7DB62CCF}" destId="{4257FBE2-FE70-4F3D-AFD8-7BF369AFEE37}" srcOrd="1" destOrd="0" presId="urn:microsoft.com/office/officeart/2005/8/layout/hierarchy5"/>
    <dgm:cxn modelId="{E001B811-AFDC-4B9B-BF2C-118F0E78D8C4}" type="presOf" srcId="{D6C5F9EB-01AC-4E5B-8641-619E34757A7D}" destId="{2C1E3150-BD4E-4C69-8F6F-302F70D8E79D}" srcOrd="0" destOrd="0" presId="urn:microsoft.com/office/officeart/2005/8/layout/hierarchy5"/>
    <dgm:cxn modelId="{EF92EB24-834A-4571-AAAC-DF910EBDBEDC}" type="presOf" srcId="{512F068E-02D5-440A-9BF2-726FAF5184A0}" destId="{E8F1E271-8944-4DAB-8B94-C6C8642EE2DB}" srcOrd="1" destOrd="0" presId="urn:microsoft.com/office/officeart/2005/8/layout/hierarchy5"/>
    <dgm:cxn modelId="{966A4830-5228-443E-98C4-456B98B277A8}" type="presOf" srcId="{96924FED-1109-4474-90E5-9AFADCA14700}" destId="{23A04E0A-DCC1-4E13-91FC-0486571B32C8}" srcOrd="1" destOrd="0" presId="urn:microsoft.com/office/officeart/2005/8/layout/hierarchy5"/>
    <dgm:cxn modelId="{F20D3C1B-9F0F-4ADF-9A60-1DE27C4CF19C}" type="presOf" srcId="{3C572D9B-9744-4A6D-9D38-B3625818A8A5}" destId="{7C882E0D-8545-4B17-B01E-E0443A60315E}" srcOrd="0" destOrd="0" presId="urn:microsoft.com/office/officeart/2005/8/layout/hierarchy5"/>
    <dgm:cxn modelId="{FC622795-AB2C-4B9D-A3CF-074C4C4B076B}" type="presOf" srcId="{E3E5F1A6-A4E1-4AE5-8E68-38A1C6DB617F}" destId="{0A8AFBFC-A36F-444E-B697-C2725DA9DF5F}" srcOrd="0" destOrd="0" presId="urn:microsoft.com/office/officeart/2005/8/layout/hierarchy5"/>
    <dgm:cxn modelId="{C2BD6B10-22BD-4B95-BE39-29FA563F2810}" srcId="{5294F6FE-04F3-44B6-B7C5-A57761CF29B6}" destId="{6DD02189-35EA-4AD7-AF42-B391D21DF58D}" srcOrd="0" destOrd="0" parTransId="{E4E96B0D-3125-4924-A4C8-3669388CA44C}" sibTransId="{11FB4466-1262-461E-8F46-070CDAF61E48}"/>
    <dgm:cxn modelId="{88E43645-E64F-4783-B9A7-E3253F3FBB90}" type="presOf" srcId="{CA227BB9-FE76-49D1-BD3A-38429577BC7B}" destId="{5CCF0B61-EE2C-45F9-B337-779545BF6403}" srcOrd="0" destOrd="0" presId="urn:microsoft.com/office/officeart/2005/8/layout/hierarchy5"/>
    <dgm:cxn modelId="{D1E17573-FAA9-493D-AFD9-7A891B1EAED9}" type="presOf" srcId="{8DB9F3AF-29A0-4697-9E7C-68E4098ABCD0}" destId="{2D7690C6-6F15-48B8-9B58-E2A8611E2089}" srcOrd="1" destOrd="0" presId="urn:microsoft.com/office/officeart/2005/8/layout/hierarchy5"/>
    <dgm:cxn modelId="{B75EC2B8-3A36-4943-92E2-818DC0A6BDC0}" srcId="{F78A29D2-7C25-4623-B2C4-E95D06E9936A}" destId="{5294F6FE-04F3-44B6-B7C5-A57761CF29B6}" srcOrd="0" destOrd="0" parTransId="{8DB9F3AF-29A0-4697-9E7C-68E4098ABCD0}" sibTransId="{AD092277-55E1-4DB4-B97F-1C3E9C7789A7}"/>
    <dgm:cxn modelId="{86EACC24-1D1E-4833-ADC4-9505D4015A47}" type="presOf" srcId="{FD675816-FC1D-4A78-8315-EA8096342D05}" destId="{91793AA9-7ADC-40CE-9373-6F2D90EB8B1F}" srcOrd="0" destOrd="0" presId="urn:microsoft.com/office/officeart/2005/8/layout/hierarchy5"/>
    <dgm:cxn modelId="{1AC7BA32-90D0-489F-B525-8862AA29476D}" srcId="{2AC3F621-9280-4D8E-9C40-8BD47942FCB0}" destId="{4922E341-C709-4B1B-8429-A21DA5CF5243}" srcOrd="0" destOrd="0" parTransId="{3C572D9B-9744-4A6D-9D38-B3625818A8A5}" sibTransId="{7F055C88-434D-41DC-9862-0080426F2F4F}"/>
    <dgm:cxn modelId="{CD30239D-C7FD-46F2-B404-625E98BA9CBB}" srcId="{61E74F49-E71E-44C3-80C5-655C9B9F028F}" destId="{823EA3C2-9842-4507-882D-E78113CD987E}" srcOrd="0" destOrd="0" parTransId="{8F4EF48F-3D0D-406A-944C-8A97336E7FB8}" sibTransId="{0EE4684E-FEA2-40A2-8829-8C332D9FD5DF}"/>
    <dgm:cxn modelId="{6D424480-433E-471E-ABE5-3B7C04CD11DA}" srcId="{24E47D29-0A73-4ABE-86A7-F431B0A5B5D4}" destId="{F78A29D2-7C25-4623-B2C4-E95D06E9936A}" srcOrd="0" destOrd="0" parTransId="{24197423-43C2-4292-AD58-0C8261DA27BE}" sibTransId="{48498665-6DCD-4BB4-8309-62E1408B3445}"/>
    <dgm:cxn modelId="{A8838FEF-80ED-4431-8E15-468E19FF7C52}" srcId="{4D7FED4D-3E35-495D-8A72-09C2228595F6}" destId="{512F068E-02D5-440A-9BF2-726FAF5184A0}" srcOrd="3" destOrd="0" parTransId="{7BAE67EA-0CD9-4C01-AF63-A915FE0E757A}" sibTransId="{524516BE-A41D-438D-9262-7EE83139386F}"/>
    <dgm:cxn modelId="{1E4D8542-2619-4401-A171-A8F5396BFDDA}" type="presOf" srcId="{823EA3C2-9842-4507-882D-E78113CD987E}" destId="{72FFB183-A5A6-40B0-9C01-BE675B24A911}" srcOrd="0" destOrd="0" presId="urn:microsoft.com/office/officeart/2005/8/layout/hierarchy5"/>
    <dgm:cxn modelId="{41E21947-A954-4CF7-A0E2-87EDD35E6813}" type="presOf" srcId="{17BF242E-B8D4-421D-B6F9-11F55EE71012}" destId="{D1DE1374-C09A-44D3-8835-E10E1234A73A}" srcOrd="1" destOrd="0" presId="urn:microsoft.com/office/officeart/2005/8/layout/hierarchy5"/>
    <dgm:cxn modelId="{F787879C-E052-495F-9468-668FC05AA450}" srcId="{C5A44F5D-F8A0-494B-B888-FEDFF2D2CF27}" destId="{F15C45AB-E0CF-45C4-8D8F-088A9454D957}" srcOrd="0" destOrd="0" parTransId="{89F578FA-D321-466B-9A67-0CFD3682FC08}" sibTransId="{209C7D7F-F58C-467E-AC72-3A5895B4A33A}"/>
    <dgm:cxn modelId="{C99AA2D0-8843-4A21-B15F-88D3D70D610A}" type="presOf" srcId="{3C572D9B-9744-4A6D-9D38-B3625818A8A5}" destId="{DB28B242-72B3-43FA-A2B5-6184BADB9812}" srcOrd="1" destOrd="0" presId="urn:microsoft.com/office/officeart/2005/8/layout/hierarchy5"/>
    <dgm:cxn modelId="{628293EF-99F9-448E-B2BD-DA8A244BD4CB}" type="presOf" srcId="{C5A44F5D-F8A0-494B-B888-FEDFF2D2CF27}" destId="{59BEC963-C2BA-46F2-9687-BA5266E02D08}" srcOrd="0" destOrd="0" presId="urn:microsoft.com/office/officeart/2005/8/layout/hierarchy5"/>
    <dgm:cxn modelId="{726F8AAE-5B15-423B-B7BD-0E153A0923F7}" type="presOf" srcId="{89F578FA-D321-466B-9A67-0CFD3682FC08}" destId="{5A971821-7571-434E-993A-9182A836F6C5}" srcOrd="1" destOrd="0" presId="urn:microsoft.com/office/officeart/2005/8/layout/hierarchy5"/>
    <dgm:cxn modelId="{3E1E6764-EDAE-4D5B-80A0-9A61FF8E8F63}" type="presOf" srcId="{24197423-43C2-4292-AD58-0C8261DA27BE}" destId="{C8A920D2-0934-4D94-A585-C34CEBA1C6B8}" srcOrd="1" destOrd="0" presId="urn:microsoft.com/office/officeart/2005/8/layout/hierarchy5"/>
    <dgm:cxn modelId="{21B8BA7A-8620-40ED-90E1-2524020E2BFA}" type="presOf" srcId="{F78A29D2-7C25-4623-B2C4-E95D06E9936A}" destId="{E68BFD4E-9C59-4363-8DFD-C5C5DF17A14B}" srcOrd="0" destOrd="0" presId="urn:microsoft.com/office/officeart/2005/8/layout/hierarchy5"/>
    <dgm:cxn modelId="{788CD528-61D9-472C-B4DB-7DE66BCB9FC7}" type="presOf" srcId="{A0C700C9-E8FC-4DAB-A29D-0D90DD18A80B}" destId="{85DEF1C0-7AEC-4D70-8925-A7E28296F8EC}" srcOrd="1" destOrd="0" presId="urn:microsoft.com/office/officeart/2005/8/layout/hierarchy5"/>
    <dgm:cxn modelId="{FE095C5A-A5AC-407A-8735-2C649B1C72F7}" type="presOf" srcId="{4850EA55-26EB-4B7F-91FE-69E725EB606E}" destId="{6492D61B-2B16-4505-B3FF-3254621DFBA9}" srcOrd="1" destOrd="0" presId="urn:microsoft.com/office/officeart/2005/8/layout/hierarchy5"/>
    <dgm:cxn modelId="{AD77F179-B60A-4D96-AE33-541B0F7888A2}" srcId="{FD675816-FC1D-4A78-8315-EA8096342D05}" destId="{61E74F49-E71E-44C3-80C5-655C9B9F028F}" srcOrd="0" destOrd="0" parTransId="{52ECA26B-E87F-483E-9C33-ECC3D9D83E4C}" sibTransId="{1BA9D780-B2E9-4433-A263-627D19565643}"/>
    <dgm:cxn modelId="{AC4F112B-1468-4703-A576-D4EFC1E971EB}" type="presOf" srcId="{8F4EF48F-3D0D-406A-944C-8A97336E7FB8}" destId="{C77DC501-D9FF-407D-9DC1-350465D5301B}" srcOrd="1" destOrd="0" presId="urn:microsoft.com/office/officeart/2005/8/layout/hierarchy5"/>
    <dgm:cxn modelId="{6AA4A61E-C852-41D6-A04E-856F2124BD3F}" type="presOf" srcId="{96924FED-1109-4474-90E5-9AFADCA14700}" destId="{F62F0BA9-54F3-442C-9975-BF12688DEC1C}" srcOrd="0" destOrd="0" presId="urn:microsoft.com/office/officeart/2005/8/layout/hierarchy5"/>
    <dgm:cxn modelId="{1C0DE6D5-C004-4DB6-9072-B3AA2C94A142}" srcId="{4D7FED4D-3E35-495D-8A72-09C2228595F6}" destId="{17BF242E-B8D4-421D-B6F9-11F55EE71012}" srcOrd="2" destOrd="0" parTransId="{891D469E-CE5B-4C45-ABF8-8BC94C7CF1A5}" sibTransId="{B33D5CEB-19E1-4CD7-BB7A-AE9E8120F759}"/>
    <dgm:cxn modelId="{F42DDC35-BFAD-48F2-B300-10C1B3D4959C}" type="presOf" srcId="{F57B5E27-1C71-4E54-BF8A-A04D59BDE218}" destId="{7ECDFFBE-8588-46E7-ABB4-AC1FD0289920}" srcOrd="0" destOrd="0" presId="urn:microsoft.com/office/officeart/2005/8/layout/hierarchy5"/>
    <dgm:cxn modelId="{F2006095-81CA-4FD7-9AD4-7859872CC869}" srcId="{24E47D29-0A73-4ABE-86A7-F431B0A5B5D4}" destId="{F173DD03-4B9E-4C87-AA9D-8F9A035591A7}" srcOrd="2" destOrd="0" parTransId="{2E56B2AE-6B32-4154-BF79-4C9D7DB62CCF}" sibTransId="{24167F57-019A-4D4C-AF70-8BD2EDFBB728}"/>
    <dgm:cxn modelId="{8EE8BD2E-C9E2-4381-96EF-63DEEBFA2A69}" type="presOf" srcId="{E4E96B0D-3125-4924-A4C8-3669388CA44C}" destId="{83F2EF84-21B5-4ACB-928A-E2DE7BCA7AD1}" srcOrd="0" destOrd="0" presId="urn:microsoft.com/office/officeart/2005/8/layout/hierarchy5"/>
    <dgm:cxn modelId="{C28D27C2-F12B-4FE4-98A3-5DCDF9CDF083}" type="presOf" srcId="{E4E96B0D-3125-4924-A4C8-3669388CA44C}" destId="{271B7D0B-A127-43E4-BA91-4DC8CF37163A}" srcOrd="1" destOrd="0" presId="urn:microsoft.com/office/officeart/2005/8/layout/hierarchy5"/>
    <dgm:cxn modelId="{A8E7C870-FCE6-4005-9C17-6B785DDCE048}" type="presOf" srcId="{5294F6FE-04F3-44B6-B7C5-A57761CF29B6}" destId="{3A1116E9-2A7F-4450-A8CD-E31B8C162222}" srcOrd="0" destOrd="0" presId="urn:microsoft.com/office/officeart/2005/8/layout/hierarchy5"/>
    <dgm:cxn modelId="{DA5864E1-4D3A-4D60-A4AA-5B5ED610C8D6}" type="presOf" srcId="{D373D83B-15DC-43B4-8223-B131B7207E23}" destId="{EA5AF553-9687-45E9-971C-58F649A535F3}" srcOrd="0" destOrd="0" presId="urn:microsoft.com/office/officeart/2005/8/layout/hierarchy5"/>
    <dgm:cxn modelId="{BCC718AF-3A7B-4403-B9E9-20B0DC11B44B}" type="presOf" srcId="{24E47D29-0A73-4ABE-86A7-F431B0A5B5D4}" destId="{023C1C32-E98E-4DF4-80CC-8D0E98687F2B}" srcOrd="0" destOrd="0" presId="urn:microsoft.com/office/officeart/2005/8/layout/hierarchy5"/>
    <dgm:cxn modelId="{53AF34C0-CCD2-4E35-99F0-DF9FFFAD54FF}" srcId="{24E47D29-0A73-4ABE-86A7-F431B0A5B5D4}" destId="{CA227BB9-FE76-49D1-BD3A-38429577BC7B}" srcOrd="1" destOrd="0" parTransId="{96924FED-1109-4474-90E5-9AFADCA14700}" sibTransId="{0E16196B-0235-4B17-8C49-B53752ECC238}"/>
    <dgm:cxn modelId="{1112D077-95BE-4D30-AAEC-230B6002968F}" type="presOf" srcId="{63F5B534-5D44-4BEF-81D3-654EFDCEAE3A}" destId="{85BAB9CD-2C56-4249-B027-D302141AC5D1}" srcOrd="0" destOrd="0" presId="urn:microsoft.com/office/officeart/2005/8/layout/hierarchy5"/>
    <dgm:cxn modelId="{69D6E93C-6AB7-4035-9A7E-70B7CB10D894}" type="presOf" srcId="{4D7FED4D-3E35-495D-8A72-09C2228595F6}" destId="{2ECF6D43-6253-41E7-BE9D-2F9DC1068222}" srcOrd="0" destOrd="0" presId="urn:microsoft.com/office/officeart/2005/8/layout/hierarchy5"/>
    <dgm:cxn modelId="{A29EE673-71F6-4A3E-8657-FEB6F48F55C0}" srcId="{4D7FED4D-3E35-495D-8A72-09C2228595F6}" destId="{24E47D29-0A73-4ABE-86A7-F431B0A5B5D4}" srcOrd="0" destOrd="0" parTransId="{C2A0189D-B4EA-4B1B-A739-DFDD11692F48}" sibTransId="{0DC2F835-BF6C-407D-882C-18F83A2075CA}"/>
    <dgm:cxn modelId="{0ADA72C3-FDF3-4C82-BAE6-37957002FCC9}" srcId="{F173DD03-4B9E-4C87-AA9D-8F9A035591A7}" destId="{F57B5E27-1C71-4E54-BF8A-A04D59BDE218}" srcOrd="0" destOrd="0" parTransId="{E3E5F1A6-A4E1-4AE5-8E68-38A1C6DB617F}" sibTransId="{23FDDF31-04AC-4295-9D35-364CECA8E6E8}"/>
    <dgm:cxn modelId="{AF716E11-07BD-4324-8869-2CBA2CE51CEF}" type="presOf" srcId="{6DD02189-35EA-4AD7-AF42-B391D21DF58D}" destId="{9B7C4B26-0237-45EE-9560-9486F1F8FC6E}" srcOrd="0" destOrd="0" presId="urn:microsoft.com/office/officeart/2005/8/layout/hierarchy5"/>
    <dgm:cxn modelId="{832E61C8-8EAE-41D5-82AF-00A9CE0B38C1}" type="presOf" srcId="{512F068E-02D5-440A-9BF2-726FAF5184A0}" destId="{A2ED6BD0-0450-4D2B-94B9-CD37F8652BD4}" srcOrd="0" destOrd="0" presId="urn:microsoft.com/office/officeart/2005/8/layout/hierarchy5"/>
    <dgm:cxn modelId="{F0333B72-DC45-491F-B3DF-2BCAB32D86EF}" type="presOf" srcId="{2E56B2AE-6B32-4154-BF79-4C9D7DB62CCF}" destId="{33B3037F-0353-40D5-9455-4B45D53CB1D9}" srcOrd="0" destOrd="0" presId="urn:microsoft.com/office/officeart/2005/8/layout/hierarchy5"/>
    <dgm:cxn modelId="{E616891A-50FB-4B93-B2D3-B4E4FD36AC24}" srcId="{24E47D29-0A73-4ABE-86A7-F431B0A5B5D4}" destId="{FD675816-FC1D-4A78-8315-EA8096342D05}" srcOrd="4" destOrd="0" parTransId="{4850EA55-26EB-4B7F-91FE-69E725EB606E}" sibTransId="{0B64D6A0-730D-47FF-951F-D847952F3637}"/>
    <dgm:cxn modelId="{12317FF0-7450-4189-8556-FD86DBD27421}" type="presOf" srcId="{906A89AC-78E5-4556-8749-FCFA8F74829B}" destId="{B970E819-BD34-4AFA-9090-5E1906F1CDC0}" srcOrd="0" destOrd="0" presId="urn:microsoft.com/office/officeart/2005/8/layout/hierarchy5"/>
    <dgm:cxn modelId="{FD66857A-DD34-442A-880A-26453DB7AE82}" srcId="{4D7FED4D-3E35-495D-8A72-09C2228595F6}" destId="{D373D83B-15DC-43B4-8223-B131B7207E23}" srcOrd="1" destOrd="0" parTransId="{FBA1CE19-256B-48BA-955D-DF74FB152675}" sibTransId="{5D4CC776-60C6-478A-9AFC-0C2219014900}"/>
    <dgm:cxn modelId="{A32E32E4-26C7-4DEE-BBBC-B421D1BE5601}" type="presOf" srcId="{8DB9F3AF-29A0-4697-9E7C-68E4098ABCD0}" destId="{2C7D457A-0E67-4158-9D4B-165AC1A4BAF0}" srcOrd="0" destOrd="0" presId="urn:microsoft.com/office/officeart/2005/8/layout/hierarchy5"/>
    <dgm:cxn modelId="{4E8901C4-32D2-4B46-85D2-9A6C2C37B1EE}" type="presOf" srcId="{4850EA55-26EB-4B7F-91FE-69E725EB606E}" destId="{7EB509E0-8377-46C3-AFC1-007A97378EDC}" srcOrd="0" destOrd="0" presId="urn:microsoft.com/office/officeart/2005/8/layout/hierarchy5"/>
    <dgm:cxn modelId="{FF2E6039-F0D5-42CB-9FDB-9AAAD5F413CD}" type="presOf" srcId="{D373D83B-15DC-43B4-8223-B131B7207E23}" destId="{784797D6-6B78-4233-8F66-16AD4A110FDE}" srcOrd="1" destOrd="0" presId="urn:microsoft.com/office/officeart/2005/8/layout/hierarchy5"/>
    <dgm:cxn modelId="{123C55B2-162B-4321-8809-A54359EC0F57}" type="presParOf" srcId="{2ECF6D43-6253-41E7-BE9D-2F9DC1068222}" destId="{BE82E955-8E6A-4B3E-A37E-101AEFC1FC98}" srcOrd="0" destOrd="0" presId="urn:microsoft.com/office/officeart/2005/8/layout/hierarchy5"/>
    <dgm:cxn modelId="{77425EC0-3B23-4DA2-B164-9A4C941F3911}" type="presParOf" srcId="{BE82E955-8E6A-4B3E-A37E-101AEFC1FC98}" destId="{C1527990-6EBC-4A6F-ACCB-1F0B2DF1402B}" srcOrd="0" destOrd="0" presId="urn:microsoft.com/office/officeart/2005/8/layout/hierarchy5"/>
    <dgm:cxn modelId="{8BF0726C-DD71-4825-A486-A822311A3A9B}" type="presParOf" srcId="{BE82E955-8E6A-4B3E-A37E-101AEFC1FC98}" destId="{79039430-860C-4654-A699-3A0FF5C681CE}" srcOrd="1" destOrd="0" presId="urn:microsoft.com/office/officeart/2005/8/layout/hierarchy5"/>
    <dgm:cxn modelId="{78CB4444-A5CC-4434-B145-C0D61EED7811}" type="presParOf" srcId="{79039430-860C-4654-A699-3A0FF5C681CE}" destId="{8A3290CE-38A1-4104-B87F-9F144FDB5F52}" srcOrd="0" destOrd="0" presId="urn:microsoft.com/office/officeart/2005/8/layout/hierarchy5"/>
    <dgm:cxn modelId="{90B26404-6BC6-4E38-9A9C-8D9D4FB68BFC}" type="presParOf" srcId="{8A3290CE-38A1-4104-B87F-9F144FDB5F52}" destId="{023C1C32-E98E-4DF4-80CC-8D0E98687F2B}" srcOrd="0" destOrd="0" presId="urn:microsoft.com/office/officeart/2005/8/layout/hierarchy5"/>
    <dgm:cxn modelId="{64E478FE-DDA5-4302-BCF6-4380F71EC8D1}" type="presParOf" srcId="{8A3290CE-38A1-4104-B87F-9F144FDB5F52}" destId="{7B5FC3D3-6AF2-457D-8BC4-97889E6D0163}" srcOrd="1" destOrd="0" presId="urn:microsoft.com/office/officeart/2005/8/layout/hierarchy5"/>
    <dgm:cxn modelId="{5B0C0307-6AC2-4B6F-896A-165DDF772ABA}" type="presParOf" srcId="{7B5FC3D3-6AF2-457D-8BC4-97889E6D0163}" destId="{C9C64458-EEF2-456B-B510-C3FF7A3B7A41}" srcOrd="0" destOrd="0" presId="urn:microsoft.com/office/officeart/2005/8/layout/hierarchy5"/>
    <dgm:cxn modelId="{0531195E-E4F9-427D-B6C1-6E30F71C8877}" type="presParOf" srcId="{C9C64458-EEF2-456B-B510-C3FF7A3B7A41}" destId="{C8A920D2-0934-4D94-A585-C34CEBA1C6B8}" srcOrd="0" destOrd="0" presId="urn:microsoft.com/office/officeart/2005/8/layout/hierarchy5"/>
    <dgm:cxn modelId="{795F3BB4-DFFD-499C-92F2-76F3061BC2DB}" type="presParOf" srcId="{7B5FC3D3-6AF2-457D-8BC4-97889E6D0163}" destId="{2180CECB-D07F-4B3A-8914-A0DC2E137994}" srcOrd="1" destOrd="0" presId="urn:microsoft.com/office/officeart/2005/8/layout/hierarchy5"/>
    <dgm:cxn modelId="{9D129F12-F45E-4C56-B08F-3627A5CC3748}" type="presParOf" srcId="{2180CECB-D07F-4B3A-8914-A0DC2E137994}" destId="{E68BFD4E-9C59-4363-8DFD-C5C5DF17A14B}" srcOrd="0" destOrd="0" presId="urn:microsoft.com/office/officeart/2005/8/layout/hierarchy5"/>
    <dgm:cxn modelId="{BF1B6653-D62F-463C-9171-0E04B8CCCBB5}" type="presParOf" srcId="{2180CECB-D07F-4B3A-8914-A0DC2E137994}" destId="{87781746-335C-4BFD-B8E1-4B60B257D170}" srcOrd="1" destOrd="0" presId="urn:microsoft.com/office/officeart/2005/8/layout/hierarchy5"/>
    <dgm:cxn modelId="{2D09D859-48FC-4204-9748-5B6FC17F3A43}" type="presParOf" srcId="{87781746-335C-4BFD-B8E1-4B60B257D170}" destId="{2C7D457A-0E67-4158-9D4B-165AC1A4BAF0}" srcOrd="0" destOrd="0" presId="urn:microsoft.com/office/officeart/2005/8/layout/hierarchy5"/>
    <dgm:cxn modelId="{FB206F70-FDC9-4202-8FA6-4DE564AFC32C}" type="presParOf" srcId="{2C7D457A-0E67-4158-9D4B-165AC1A4BAF0}" destId="{2D7690C6-6F15-48B8-9B58-E2A8611E2089}" srcOrd="0" destOrd="0" presId="urn:microsoft.com/office/officeart/2005/8/layout/hierarchy5"/>
    <dgm:cxn modelId="{6EF7856C-9323-4376-BEE0-D3B88F508F6F}" type="presParOf" srcId="{87781746-335C-4BFD-B8E1-4B60B257D170}" destId="{BA17F717-D274-4BE3-A461-288C236E7B20}" srcOrd="1" destOrd="0" presId="urn:microsoft.com/office/officeart/2005/8/layout/hierarchy5"/>
    <dgm:cxn modelId="{56446DCA-332B-4156-9A69-6F359FECEB2F}" type="presParOf" srcId="{BA17F717-D274-4BE3-A461-288C236E7B20}" destId="{3A1116E9-2A7F-4450-A8CD-E31B8C162222}" srcOrd="0" destOrd="0" presId="urn:microsoft.com/office/officeart/2005/8/layout/hierarchy5"/>
    <dgm:cxn modelId="{7C669F10-DFDA-4EA7-B9EF-7E649B9DC1AB}" type="presParOf" srcId="{BA17F717-D274-4BE3-A461-288C236E7B20}" destId="{C4B8DE7C-2CB5-434D-9C4D-2722F41CE47C}" srcOrd="1" destOrd="0" presId="urn:microsoft.com/office/officeart/2005/8/layout/hierarchy5"/>
    <dgm:cxn modelId="{EFEBA7EA-9E36-4AF3-8079-7180692634D8}" type="presParOf" srcId="{C4B8DE7C-2CB5-434D-9C4D-2722F41CE47C}" destId="{83F2EF84-21B5-4ACB-928A-E2DE7BCA7AD1}" srcOrd="0" destOrd="0" presId="urn:microsoft.com/office/officeart/2005/8/layout/hierarchy5"/>
    <dgm:cxn modelId="{3C4779B4-7DAA-493F-8DC6-6E389A256243}" type="presParOf" srcId="{83F2EF84-21B5-4ACB-928A-E2DE7BCA7AD1}" destId="{271B7D0B-A127-43E4-BA91-4DC8CF37163A}" srcOrd="0" destOrd="0" presId="urn:microsoft.com/office/officeart/2005/8/layout/hierarchy5"/>
    <dgm:cxn modelId="{6146F819-353F-4B3D-A817-20C738D1DA1B}" type="presParOf" srcId="{C4B8DE7C-2CB5-434D-9C4D-2722F41CE47C}" destId="{750C8618-4E6E-436C-84F1-673152D5E11E}" srcOrd="1" destOrd="0" presId="urn:microsoft.com/office/officeart/2005/8/layout/hierarchy5"/>
    <dgm:cxn modelId="{7693181F-3A34-40FF-8AB0-BEAD69E7A580}" type="presParOf" srcId="{750C8618-4E6E-436C-84F1-673152D5E11E}" destId="{9B7C4B26-0237-45EE-9560-9486F1F8FC6E}" srcOrd="0" destOrd="0" presId="urn:microsoft.com/office/officeart/2005/8/layout/hierarchy5"/>
    <dgm:cxn modelId="{29C38A49-0A8E-4297-9A61-00D42336F167}" type="presParOf" srcId="{750C8618-4E6E-436C-84F1-673152D5E11E}" destId="{0C1E894F-1607-4A94-8DD2-AB2D6BCF2047}" srcOrd="1" destOrd="0" presId="urn:microsoft.com/office/officeart/2005/8/layout/hierarchy5"/>
    <dgm:cxn modelId="{D2BCF7B5-1EF4-4E4C-9D89-5A4331E0E5D0}" type="presParOf" srcId="{7B5FC3D3-6AF2-457D-8BC4-97889E6D0163}" destId="{F62F0BA9-54F3-442C-9975-BF12688DEC1C}" srcOrd="2" destOrd="0" presId="urn:microsoft.com/office/officeart/2005/8/layout/hierarchy5"/>
    <dgm:cxn modelId="{6ED7E195-0194-41E7-9776-1DC1DD4886D8}" type="presParOf" srcId="{F62F0BA9-54F3-442C-9975-BF12688DEC1C}" destId="{23A04E0A-DCC1-4E13-91FC-0486571B32C8}" srcOrd="0" destOrd="0" presId="urn:microsoft.com/office/officeart/2005/8/layout/hierarchy5"/>
    <dgm:cxn modelId="{A5FF8251-1435-41A2-8F14-DC0E36CA0AB1}" type="presParOf" srcId="{7B5FC3D3-6AF2-457D-8BC4-97889E6D0163}" destId="{51EF16F1-8F0E-41E7-B857-E039B2804A85}" srcOrd="3" destOrd="0" presId="urn:microsoft.com/office/officeart/2005/8/layout/hierarchy5"/>
    <dgm:cxn modelId="{DE94A5E3-E407-4BE9-B7CC-B896502F2C2D}" type="presParOf" srcId="{51EF16F1-8F0E-41E7-B857-E039B2804A85}" destId="{5CCF0B61-EE2C-45F9-B337-779545BF6403}" srcOrd="0" destOrd="0" presId="urn:microsoft.com/office/officeart/2005/8/layout/hierarchy5"/>
    <dgm:cxn modelId="{D8DF117C-3B4C-4A30-876A-04660B193F0E}" type="presParOf" srcId="{51EF16F1-8F0E-41E7-B857-E039B2804A85}" destId="{2B64DA71-E6AC-4434-982E-B9A180076F56}" srcOrd="1" destOrd="0" presId="urn:microsoft.com/office/officeart/2005/8/layout/hierarchy5"/>
    <dgm:cxn modelId="{F1EFE51F-7DE7-4B1C-9278-912039950BAC}" type="presParOf" srcId="{2B64DA71-E6AC-4434-982E-B9A180076F56}" destId="{2C1E3150-BD4E-4C69-8F6F-302F70D8E79D}" srcOrd="0" destOrd="0" presId="urn:microsoft.com/office/officeart/2005/8/layout/hierarchy5"/>
    <dgm:cxn modelId="{7AFDF243-2D99-4313-B7A1-93120CE1D42B}" type="presParOf" srcId="{2C1E3150-BD4E-4C69-8F6F-302F70D8E79D}" destId="{72BCA1F3-1805-49A3-A9A4-234073669DE7}" srcOrd="0" destOrd="0" presId="urn:microsoft.com/office/officeart/2005/8/layout/hierarchy5"/>
    <dgm:cxn modelId="{CF2DBEC7-9DE7-4BE7-BF61-448EB44A84B3}" type="presParOf" srcId="{2B64DA71-E6AC-4434-982E-B9A180076F56}" destId="{65AFEF45-4DA5-45C4-A04C-16100D6BB303}" srcOrd="1" destOrd="0" presId="urn:microsoft.com/office/officeart/2005/8/layout/hierarchy5"/>
    <dgm:cxn modelId="{234EF687-697F-4607-BB64-2BA96F659B77}" type="presParOf" srcId="{65AFEF45-4DA5-45C4-A04C-16100D6BB303}" destId="{9843C3FE-99C2-4CEF-866E-FB5151A6D7AA}" srcOrd="0" destOrd="0" presId="urn:microsoft.com/office/officeart/2005/8/layout/hierarchy5"/>
    <dgm:cxn modelId="{91E23B73-4E8E-41FF-A9A2-C6AFC13D6B84}" type="presParOf" srcId="{65AFEF45-4DA5-45C4-A04C-16100D6BB303}" destId="{FE2E08D3-3F21-4F59-AC88-9F3AA623355D}" srcOrd="1" destOrd="0" presId="urn:microsoft.com/office/officeart/2005/8/layout/hierarchy5"/>
    <dgm:cxn modelId="{C599E541-79A1-449F-A3C9-D62C3E297F05}" type="presParOf" srcId="{FE2E08D3-3F21-4F59-AC88-9F3AA623355D}" destId="{7C882E0D-8545-4B17-B01E-E0443A60315E}" srcOrd="0" destOrd="0" presId="urn:microsoft.com/office/officeart/2005/8/layout/hierarchy5"/>
    <dgm:cxn modelId="{7F51F3D0-E62D-4444-99E0-0D962FA495E9}" type="presParOf" srcId="{7C882E0D-8545-4B17-B01E-E0443A60315E}" destId="{DB28B242-72B3-43FA-A2B5-6184BADB9812}" srcOrd="0" destOrd="0" presId="urn:microsoft.com/office/officeart/2005/8/layout/hierarchy5"/>
    <dgm:cxn modelId="{4FD1F8C6-5956-422B-A4B6-AD76B5B487BD}" type="presParOf" srcId="{FE2E08D3-3F21-4F59-AC88-9F3AA623355D}" destId="{70CBAB3D-BEBF-41FF-837D-6C81DAD0FA19}" srcOrd="1" destOrd="0" presId="urn:microsoft.com/office/officeart/2005/8/layout/hierarchy5"/>
    <dgm:cxn modelId="{E0075434-B2E0-416F-B2FE-007230109EA7}" type="presParOf" srcId="{70CBAB3D-BEBF-41FF-837D-6C81DAD0FA19}" destId="{CB7B6421-1EE7-4030-8EAB-53374CA32105}" srcOrd="0" destOrd="0" presId="urn:microsoft.com/office/officeart/2005/8/layout/hierarchy5"/>
    <dgm:cxn modelId="{F993E382-7536-4C6F-81D8-99C035CEDFD0}" type="presParOf" srcId="{70CBAB3D-BEBF-41FF-837D-6C81DAD0FA19}" destId="{3A94C47D-B8F8-497E-998E-F9A71C9D1963}" srcOrd="1" destOrd="0" presId="urn:microsoft.com/office/officeart/2005/8/layout/hierarchy5"/>
    <dgm:cxn modelId="{BFF3B867-5509-43F3-A3D8-DD3367F92451}" type="presParOf" srcId="{7B5FC3D3-6AF2-457D-8BC4-97889E6D0163}" destId="{33B3037F-0353-40D5-9455-4B45D53CB1D9}" srcOrd="4" destOrd="0" presId="urn:microsoft.com/office/officeart/2005/8/layout/hierarchy5"/>
    <dgm:cxn modelId="{130BC268-F146-4DA3-A4BD-5E9EC7AC7485}" type="presParOf" srcId="{33B3037F-0353-40D5-9455-4B45D53CB1D9}" destId="{4257FBE2-FE70-4F3D-AFD8-7BF369AFEE37}" srcOrd="0" destOrd="0" presId="urn:microsoft.com/office/officeart/2005/8/layout/hierarchy5"/>
    <dgm:cxn modelId="{8312484C-EDC5-4C22-900F-C2620E082955}" type="presParOf" srcId="{7B5FC3D3-6AF2-457D-8BC4-97889E6D0163}" destId="{7B62DDAD-4DC5-40AC-88E5-34D07664AF5D}" srcOrd="5" destOrd="0" presId="urn:microsoft.com/office/officeart/2005/8/layout/hierarchy5"/>
    <dgm:cxn modelId="{E45E6198-F78A-4880-9839-6C60B8B4CECC}" type="presParOf" srcId="{7B62DDAD-4DC5-40AC-88E5-34D07664AF5D}" destId="{BB5169AC-9A36-4BC3-A7D9-233B66538575}" srcOrd="0" destOrd="0" presId="urn:microsoft.com/office/officeart/2005/8/layout/hierarchy5"/>
    <dgm:cxn modelId="{2D3930D1-7CF7-42D5-94EA-A780D06D39DC}" type="presParOf" srcId="{7B62DDAD-4DC5-40AC-88E5-34D07664AF5D}" destId="{0BF3CA5D-3663-411F-A4E4-3CB6F485305D}" srcOrd="1" destOrd="0" presId="urn:microsoft.com/office/officeart/2005/8/layout/hierarchy5"/>
    <dgm:cxn modelId="{76E56FD8-D767-4CC6-BEF3-47771BB0F4DB}" type="presParOf" srcId="{0BF3CA5D-3663-411F-A4E4-3CB6F485305D}" destId="{0A8AFBFC-A36F-444E-B697-C2725DA9DF5F}" srcOrd="0" destOrd="0" presId="urn:microsoft.com/office/officeart/2005/8/layout/hierarchy5"/>
    <dgm:cxn modelId="{12F5A59D-B0D5-4DBE-BC20-4B737A7ECFB6}" type="presParOf" srcId="{0A8AFBFC-A36F-444E-B697-C2725DA9DF5F}" destId="{2C0BB061-499B-4DC4-ACEB-DF6FCBE8D36A}" srcOrd="0" destOrd="0" presId="urn:microsoft.com/office/officeart/2005/8/layout/hierarchy5"/>
    <dgm:cxn modelId="{DF1086AE-E2BA-4E74-B66E-A481FD05CE6A}" type="presParOf" srcId="{0BF3CA5D-3663-411F-A4E4-3CB6F485305D}" destId="{2A08BBC7-87E9-4B9A-BBDF-3023C07655EC}" srcOrd="1" destOrd="0" presId="urn:microsoft.com/office/officeart/2005/8/layout/hierarchy5"/>
    <dgm:cxn modelId="{64176260-99AF-4321-B5E6-7B977F04B3A7}" type="presParOf" srcId="{2A08BBC7-87E9-4B9A-BBDF-3023C07655EC}" destId="{7ECDFFBE-8588-46E7-ABB4-AC1FD0289920}" srcOrd="0" destOrd="0" presId="urn:microsoft.com/office/officeart/2005/8/layout/hierarchy5"/>
    <dgm:cxn modelId="{5A2FFF6A-54A1-44C4-966D-0D630DB11E93}" type="presParOf" srcId="{2A08BBC7-87E9-4B9A-BBDF-3023C07655EC}" destId="{892DB3BA-EE85-4AED-BB19-05DCAD80BD5D}" srcOrd="1" destOrd="0" presId="urn:microsoft.com/office/officeart/2005/8/layout/hierarchy5"/>
    <dgm:cxn modelId="{2D70E6C1-0287-408E-9B34-F38DD2A2E1E9}" type="presParOf" srcId="{892DB3BA-EE85-4AED-BB19-05DCAD80BD5D}" destId="{21B1B2B0-AF42-450D-9390-056297485BB9}" srcOrd="0" destOrd="0" presId="urn:microsoft.com/office/officeart/2005/8/layout/hierarchy5"/>
    <dgm:cxn modelId="{923ACD95-0FE3-4A07-A642-5F7CDA4DA073}" type="presParOf" srcId="{21B1B2B0-AF42-450D-9390-056297485BB9}" destId="{85DEF1C0-7AEC-4D70-8925-A7E28296F8EC}" srcOrd="0" destOrd="0" presId="urn:microsoft.com/office/officeart/2005/8/layout/hierarchy5"/>
    <dgm:cxn modelId="{FDBCE99E-2A9B-4D11-9A1A-670A0673D077}" type="presParOf" srcId="{892DB3BA-EE85-4AED-BB19-05DCAD80BD5D}" destId="{0F07FB50-45D0-4DD5-A3C8-70EBC0E36E2F}" srcOrd="1" destOrd="0" presId="urn:microsoft.com/office/officeart/2005/8/layout/hierarchy5"/>
    <dgm:cxn modelId="{B240C0D8-E04C-4BFC-A135-81D744FDF8C2}" type="presParOf" srcId="{0F07FB50-45D0-4DD5-A3C8-70EBC0E36E2F}" destId="{52CD3E92-CF1E-4C82-A5A5-A55870C64127}" srcOrd="0" destOrd="0" presId="urn:microsoft.com/office/officeart/2005/8/layout/hierarchy5"/>
    <dgm:cxn modelId="{6217FA7E-2A4E-43B7-A41B-B692AF1DD254}" type="presParOf" srcId="{0F07FB50-45D0-4DD5-A3C8-70EBC0E36E2F}" destId="{561BC001-9B89-41BD-8271-8771610E83C6}" srcOrd="1" destOrd="0" presId="urn:microsoft.com/office/officeart/2005/8/layout/hierarchy5"/>
    <dgm:cxn modelId="{FC86CA6E-7EA5-4E59-B536-05B62E9975BC}" type="presParOf" srcId="{7B5FC3D3-6AF2-457D-8BC4-97889E6D0163}" destId="{7F5EF9FB-E1F7-4423-B582-8883FF340FEC}" srcOrd="6" destOrd="0" presId="urn:microsoft.com/office/officeart/2005/8/layout/hierarchy5"/>
    <dgm:cxn modelId="{C832F484-979A-4C46-8AD7-414DC61D2D77}" type="presParOf" srcId="{7F5EF9FB-E1F7-4423-B582-8883FF340FEC}" destId="{80877295-E2AD-4E94-98A4-DDBC92011708}" srcOrd="0" destOrd="0" presId="urn:microsoft.com/office/officeart/2005/8/layout/hierarchy5"/>
    <dgm:cxn modelId="{D407FB61-7350-46EF-BDE5-9BC331469CC8}" type="presParOf" srcId="{7B5FC3D3-6AF2-457D-8BC4-97889E6D0163}" destId="{1C02F19E-2C92-4927-9EF4-DFBABB39DEBC}" srcOrd="7" destOrd="0" presId="urn:microsoft.com/office/officeart/2005/8/layout/hierarchy5"/>
    <dgm:cxn modelId="{4A805B02-1425-477A-83C9-4D21B9E9FA10}" type="presParOf" srcId="{1C02F19E-2C92-4927-9EF4-DFBABB39DEBC}" destId="{B970E819-BD34-4AFA-9090-5E1906F1CDC0}" srcOrd="0" destOrd="0" presId="urn:microsoft.com/office/officeart/2005/8/layout/hierarchy5"/>
    <dgm:cxn modelId="{94A2FEBF-7DAF-426E-8804-CDDB0765E7A3}" type="presParOf" srcId="{1C02F19E-2C92-4927-9EF4-DFBABB39DEBC}" destId="{C788120F-99CF-452D-BAB2-8A8CA95C5E03}" srcOrd="1" destOrd="0" presId="urn:microsoft.com/office/officeart/2005/8/layout/hierarchy5"/>
    <dgm:cxn modelId="{6DF4A92C-57D3-41AC-9922-7996F197631E}" type="presParOf" srcId="{C788120F-99CF-452D-BAB2-8A8CA95C5E03}" destId="{85BAB9CD-2C56-4249-B027-D302141AC5D1}" srcOrd="0" destOrd="0" presId="urn:microsoft.com/office/officeart/2005/8/layout/hierarchy5"/>
    <dgm:cxn modelId="{699FCB8E-F095-44B4-8561-C8037671D6AA}" type="presParOf" srcId="{85BAB9CD-2C56-4249-B027-D302141AC5D1}" destId="{1ACF397D-A264-4C5F-AF1C-18EF3817B851}" srcOrd="0" destOrd="0" presId="urn:microsoft.com/office/officeart/2005/8/layout/hierarchy5"/>
    <dgm:cxn modelId="{E5A2C567-03A7-4863-B5EC-FEC9F8DA4AD2}" type="presParOf" srcId="{C788120F-99CF-452D-BAB2-8A8CA95C5E03}" destId="{C442C8F2-DCA8-41F2-A68A-10805A7F76B3}" srcOrd="1" destOrd="0" presId="urn:microsoft.com/office/officeart/2005/8/layout/hierarchy5"/>
    <dgm:cxn modelId="{460ADFBB-C087-4C4A-9EA1-35F2D9EB4E37}" type="presParOf" srcId="{C442C8F2-DCA8-41F2-A68A-10805A7F76B3}" destId="{59BEC963-C2BA-46F2-9687-BA5266E02D08}" srcOrd="0" destOrd="0" presId="urn:microsoft.com/office/officeart/2005/8/layout/hierarchy5"/>
    <dgm:cxn modelId="{55E15D24-BB62-4159-B08F-1A9C88CBE23D}" type="presParOf" srcId="{C442C8F2-DCA8-41F2-A68A-10805A7F76B3}" destId="{266ABFE1-5816-4EEB-86BA-2EB4A10DEC1E}" srcOrd="1" destOrd="0" presId="urn:microsoft.com/office/officeart/2005/8/layout/hierarchy5"/>
    <dgm:cxn modelId="{1312DE13-7554-49CF-9A8D-FD82AB9128F8}" type="presParOf" srcId="{266ABFE1-5816-4EEB-86BA-2EB4A10DEC1E}" destId="{09D8AF1C-8F73-412F-B798-FBE9273E6048}" srcOrd="0" destOrd="0" presId="urn:microsoft.com/office/officeart/2005/8/layout/hierarchy5"/>
    <dgm:cxn modelId="{5CA639D4-3D00-4A77-86B4-12A2FA82CFF2}" type="presParOf" srcId="{09D8AF1C-8F73-412F-B798-FBE9273E6048}" destId="{5A971821-7571-434E-993A-9182A836F6C5}" srcOrd="0" destOrd="0" presId="urn:microsoft.com/office/officeart/2005/8/layout/hierarchy5"/>
    <dgm:cxn modelId="{BDB9B1DB-2EA3-4A2D-8F9C-C490C9D0E77E}" type="presParOf" srcId="{266ABFE1-5816-4EEB-86BA-2EB4A10DEC1E}" destId="{467BF58F-987C-4EC2-BC66-2C9D4DF38C36}" srcOrd="1" destOrd="0" presId="urn:microsoft.com/office/officeart/2005/8/layout/hierarchy5"/>
    <dgm:cxn modelId="{A2155012-9FF6-4411-A35A-8A9832578DD1}" type="presParOf" srcId="{467BF58F-987C-4EC2-BC66-2C9D4DF38C36}" destId="{9E55A246-FB46-4D52-8D89-52045CFE6B0E}" srcOrd="0" destOrd="0" presId="urn:microsoft.com/office/officeart/2005/8/layout/hierarchy5"/>
    <dgm:cxn modelId="{18B39863-37EB-4D14-964A-56CEAAC65E47}" type="presParOf" srcId="{467BF58F-987C-4EC2-BC66-2C9D4DF38C36}" destId="{CF2CAD74-EA2B-4256-AE8A-3FDDE6FDCD23}" srcOrd="1" destOrd="0" presId="urn:microsoft.com/office/officeart/2005/8/layout/hierarchy5"/>
    <dgm:cxn modelId="{05799EA7-4A6F-48A8-B094-DFB09D34C5E3}" type="presParOf" srcId="{7B5FC3D3-6AF2-457D-8BC4-97889E6D0163}" destId="{7EB509E0-8377-46C3-AFC1-007A97378EDC}" srcOrd="8" destOrd="0" presId="urn:microsoft.com/office/officeart/2005/8/layout/hierarchy5"/>
    <dgm:cxn modelId="{66C08393-0600-438E-A42A-2F50136D2995}" type="presParOf" srcId="{7EB509E0-8377-46C3-AFC1-007A97378EDC}" destId="{6492D61B-2B16-4505-B3FF-3254621DFBA9}" srcOrd="0" destOrd="0" presId="urn:microsoft.com/office/officeart/2005/8/layout/hierarchy5"/>
    <dgm:cxn modelId="{2D4A8602-51A1-4F9A-AF55-CCC4383D5816}" type="presParOf" srcId="{7B5FC3D3-6AF2-457D-8BC4-97889E6D0163}" destId="{C3ADB865-9CB8-4DF9-87A6-73775D4AACB7}" srcOrd="9" destOrd="0" presId="urn:microsoft.com/office/officeart/2005/8/layout/hierarchy5"/>
    <dgm:cxn modelId="{23F583A6-6627-4DFB-A255-7B4093A2448F}" type="presParOf" srcId="{C3ADB865-9CB8-4DF9-87A6-73775D4AACB7}" destId="{91793AA9-7ADC-40CE-9373-6F2D90EB8B1F}" srcOrd="0" destOrd="0" presId="urn:microsoft.com/office/officeart/2005/8/layout/hierarchy5"/>
    <dgm:cxn modelId="{852FDE34-C52B-4811-A2B9-3398AF888D74}" type="presParOf" srcId="{C3ADB865-9CB8-4DF9-87A6-73775D4AACB7}" destId="{D6CCFA25-5D94-4BD7-88D0-B1F87A3B1290}" srcOrd="1" destOrd="0" presId="urn:microsoft.com/office/officeart/2005/8/layout/hierarchy5"/>
    <dgm:cxn modelId="{6802DEB4-A95E-4561-B092-797A2293028B}" type="presParOf" srcId="{D6CCFA25-5D94-4BD7-88D0-B1F87A3B1290}" destId="{13CAD69F-0294-49F4-B2C7-4A2DE6F5F7B6}" srcOrd="0" destOrd="0" presId="urn:microsoft.com/office/officeart/2005/8/layout/hierarchy5"/>
    <dgm:cxn modelId="{2B57F2E4-C023-4256-8E9D-94EA3BD782C4}" type="presParOf" srcId="{13CAD69F-0294-49F4-B2C7-4A2DE6F5F7B6}" destId="{7C62450C-E4E8-48D5-99AB-82391E1D7ADF}" srcOrd="0" destOrd="0" presId="urn:microsoft.com/office/officeart/2005/8/layout/hierarchy5"/>
    <dgm:cxn modelId="{FA076696-FD01-4700-8D19-390D1DF2EBE8}" type="presParOf" srcId="{D6CCFA25-5D94-4BD7-88D0-B1F87A3B1290}" destId="{842D05C0-F31D-4570-BE31-D00263CA027F}" srcOrd="1" destOrd="0" presId="urn:microsoft.com/office/officeart/2005/8/layout/hierarchy5"/>
    <dgm:cxn modelId="{F772F2CF-7386-4817-8B96-7AAC852C53F8}" type="presParOf" srcId="{842D05C0-F31D-4570-BE31-D00263CA027F}" destId="{7E36CD7C-7949-4E01-834E-665F2F8260D0}" srcOrd="0" destOrd="0" presId="urn:microsoft.com/office/officeart/2005/8/layout/hierarchy5"/>
    <dgm:cxn modelId="{466D26C9-85EE-4C44-8C1F-F055AE768822}" type="presParOf" srcId="{842D05C0-F31D-4570-BE31-D00263CA027F}" destId="{F2CD1949-7802-430A-9395-63AA7DE14272}" srcOrd="1" destOrd="0" presId="urn:microsoft.com/office/officeart/2005/8/layout/hierarchy5"/>
    <dgm:cxn modelId="{C7AB5267-571C-4E86-B30D-2310FFBB71B6}" type="presParOf" srcId="{F2CD1949-7802-430A-9395-63AA7DE14272}" destId="{EE116C6F-4814-479A-9D97-B15C53B9E492}" srcOrd="0" destOrd="0" presId="urn:microsoft.com/office/officeart/2005/8/layout/hierarchy5"/>
    <dgm:cxn modelId="{B80B3D4F-0549-4118-90F5-B90D848DA4A5}" type="presParOf" srcId="{EE116C6F-4814-479A-9D97-B15C53B9E492}" destId="{C77DC501-D9FF-407D-9DC1-350465D5301B}" srcOrd="0" destOrd="0" presId="urn:microsoft.com/office/officeart/2005/8/layout/hierarchy5"/>
    <dgm:cxn modelId="{0D764098-87F6-4234-99AC-270FD289123E}" type="presParOf" srcId="{F2CD1949-7802-430A-9395-63AA7DE14272}" destId="{F00A1E5B-9256-4D68-A53E-43B3CE36E56A}" srcOrd="1" destOrd="0" presId="urn:microsoft.com/office/officeart/2005/8/layout/hierarchy5"/>
    <dgm:cxn modelId="{B245464A-2851-4F7F-A735-6830A97798A8}" type="presParOf" srcId="{F00A1E5B-9256-4D68-A53E-43B3CE36E56A}" destId="{72FFB183-A5A6-40B0-9C01-BE675B24A911}" srcOrd="0" destOrd="0" presId="urn:microsoft.com/office/officeart/2005/8/layout/hierarchy5"/>
    <dgm:cxn modelId="{B6EA2E31-57A6-490D-857B-5B5AFB26FF1A}" type="presParOf" srcId="{F00A1E5B-9256-4D68-A53E-43B3CE36E56A}" destId="{78DBCAF4-1662-435D-AF2B-56A9598E58A5}" srcOrd="1" destOrd="0" presId="urn:microsoft.com/office/officeart/2005/8/layout/hierarchy5"/>
    <dgm:cxn modelId="{49AEDC6C-D4EC-452B-AC46-1943D32743EF}" type="presParOf" srcId="{2ECF6D43-6253-41E7-BE9D-2F9DC1068222}" destId="{2D33B812-A653-4B22-9E47-51956F6D72A5}" srcOrd="1" destOrd="0" presId="urn:microsoft.com/office/officeart/2005/8/layout/hierarchy5"/>
    <dgm:cxn modelId="{1F956A64-464E-4455-9CE0-FC35F32B046F}" type="presParOf" srcId="{2D33B812-A653-4B22-9E47-51956F6D72A5}" destId="{9BD777EA-A285-405C-8948-284BC3F33160}" srcOrd="0" destOrd="0" presId="urn:microsoft.com/office/officeart/2005/8/layout/hierarchy5"/>
    <dgm:cxn modelId="{EFBC5874-8A26-4564-93F5-71DC5A9314F8}" type="presParOf" srcId="{9BD777EA-A285-405C-8948-284BC3F33160}" destId="{EA5AF553-9687-45E9-971C-58F649A535F3}" srcOrd="0" destOrd="0" presId="urn:microsoft.com/office/officeart/2005/8/layout/hierarchy5"/>
    <dgm:cxn modelId="{8639AEF7-4896-444A-8FDD-E6603B0EEFA9}" type="presParOf" srcId="{9BD777EA-A285-405C-8948-284BC3F33160}" destId="{784797D6-6B78-4233-8F66-16AD4A110FDE}" srcOrd="1" destOrd="0" presId="urn:microsoft.com/office/officeart/2005/8/layout/hierarchy5"/>
    <dgm:cxn modelId="{B30AE055-E2B5-4B2F-979D-15A51C0D6678}" type="presParOf" srcId="{2D33B812-A653-4B22-9E47-51956F6D72A5}" destId="{E9BE3D14-EC2F-4B24-A3EE-BB60B3FBD24D}" srcOrd="1" destOrd="0" presId="urn:microsoft.com/office/officeart/2005/8/layout/hierarchy5"/>
    <dgm:cxn modelId="{21395875-504F-4D44-ABD6-CF191A9C2785}" type="presParOf" srcId="{E9BE3D14-EC2F-4B24-A3EE-BB60B3FBD24D}" destId="{0C9B0378-BA84-48B4-A18A-D373F2CC4043}" srcOrd="0" destOrd="0" presId="urn:microsoft.com/office/officeart/2005/8/layout/hierarchy5"/>
    <dgm:cxn modelId="{90834E2C-2317-48E7-9C82-9F920A815486}" type="presParOf" srcId="{2D33B812-A653-4B22-9E47-51956F6D72A5}" destId="{FC5DF489-9D7F-4445-87B0-F1B1A723D621}" srcOrd="2" destOrd="0" presId="urn:microsoft.com/office/officeart/2005/8/layout/hierarchy5"/>
    <dgm:cxn modelId="{1B958626-43BB-425C-BAAE-97B8A88B2470}" type="presParOf" srcId="{FC5DF489-9D7F-4445-87B0-F1B1A723D621}" destId="{BBDEF70A-50B4-4B17-BA39-5B0876FCF49F}" srcOrd="0" destOrd="0" presId="urn:microsoft.com/office/officeart/2005/8/layout/hierarchy5"/>
    <dgm:cxn modelId="{F84D11C4-3581-4FE3-BA09-E82EFF7AF05F}" type="presParOf" srcId="{FC5DF489-9D7F-4445-87B0-F1B1A723D621}" destId="{D1DE1374-C09A-44D3-8835-E10E1234A73A}" srcOrd="1" destOrd="0" presId="urn:microsoft.com/office/officeart/2005/8/layout/hierarchy5"/>
    <dgm:cxn modelId="{B492BC7A-8023-421D-B583-EE321BA5B2AA}" type="presParOf" srcId="{2D33B812-A653-4B22-9E47-51956F6D72A5}" destId="{2AE74408-1E7E-45ED-B289-0A04FEFDD522}" srcOrd="3" destOrd="0" presId="urn:microsoft.com/office/officeart/2005/8/layout/hierarchy5"/>
    <dgm:cxn modelId="{94758508-928C-468F-B064-12EF7805ED03}" type="presParOf" srcId="{2AE74408-1E7E-45ED-B289-0A04FEFDD522}" destId="{E43548A5-EB70-4B2D-912C-99EEBE992A27}" srcOrd="0" destOrd="0" presId="urn:microsoft.com/office/officeart/2005/8/layout/hierarchy5"/>
    <dgm:cxn modelId="{FE47A6F7-056D-4944-9623-CC127C9EFCDB}" type="presParOf" srcId="{2D33B812-A653-4B22-9E47-51956F6D72A5}" destId="{36021848-8DD0-4A12-97FD-893FC7BED405}" srcOrd="4" destOrd="0" presId="urn:microsoft.com/office/officeart/2005/8/layout/hierarchy5"/>
    <dgm:cxn modelId="{0DA5D45A-E383-4728-9170-A147DCA0FD83}" type="presParOf" srcId="{36021848-8DD0-4A12-97FD-893FC7BED405}" destId="{A2ED6BD0-0450-4D2B-94B9-CD37F8652BD4}" srcOrd="0" destOrd="0" presId="urn:microsoft.com/office/officeart/2005/8/layout/hierarchy5"/>
    <dgm:cxn modelId="{6E62DA76-4652-48E4-9C41-24644B76FE3E}" type="presParOf" srcId="{36021848-8DD0-4A12-97FD-893FC7BED405}" destId="{E8F1E271-8944-4DAB-8B94-C6C8642EE2DB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A4ED89F-ECEE-4330-BF32-715B30AEB8B9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AB12C15C-C219-4D83-A192-9A372C3D827C}">
      <dgm:prSet phldrT="[Текст]" custT="1"/>
      <dgm:spPr/>
      <dgm:t>
        <a:bodyPr/>
        <a:lstStyle/>
        <a:p>
          <a:r>
            <a:rPr lang="ru-RU" sz="1600" b="1" dirty="0" smtClean="0"/>
            <a:t>Национальный проект </a:t>
          </a:r>
          <a:endParaRPr lang="ru-RU" sz="1600" b="1" dirty="0"/>
        </a:p>
      </dgm:t>
    </dgm:pt>
    <dgm:pt modelId="{1981063D-C792-4E5C-AB13-FD6C6D8FAFDA}" type="parTrans" cxnId="{AB251274-305A-4D97-8631-40483E4D545E}">
      <dgm:prSet/>
      <dgm:spPr/>
      <dgm:t>
        <a:bodyPr/>
        <a:lstStyle/>
        <a:p>
          <a:endParaRPr lang="ru-RU" sz="1600" b="1"/>
        </a:p>
      </dgm:t>
    </dgm:pt>
    <dgm:pt modelId="{92C133E5-DFE2-43D7-80AE-47AA567F5BB2}" type="sibTrans" cxnId="{AB251274-305A-4D97-8631-40483E4D545E}">
      <dgm:prSet/>
      <dgm:spPr/>
      <dgm:t>
        <a:bodyPr/>
        <a:lstStyle/>
        <a:p>
          <a:endParaRPr lang="ru-RU" sz="1600" b="1"/>
        </a:p>
      </dgm:t>
    </dgm:pt>
    <dgm:pt modelId="{E8775A26-75DB-4F12-BC42-73AC8646A22F}">
      <dgm:prSet phldrT="[Текст]" custT="1"/>
      <dgm:spPr/>
      <dgm:t>
        <a:bodyPr/>
        <a:lstStyle/>
        <a:p>
          <a:r>
            <a:rPr lang="ru-RU" sz="1600" b="1" dirty="0" smtClean="0"/>
            <a:t>Региональный проект Хабаровского края  </a:t>
          </a:r>
          <a:endParaRPr lang="ru-RU" sz="1600" b="1" dirty="0"/>
        </a:p>
      </dgm:t>
    </dgm:pt>
    <dgm:pt modelId="{72F6AE61-FAF3-4066-B69B-8A30CD7A8678}" type="parTrans" cxnId="{620DA4FC-D5A4-4751-8274-3D14F272F4BA}">
      <dgm:prSet/>
      <dgm:spPr/>
      <dgm:t>
        <a:bodyPr/>
        <a:lstStyle/>
        <a:p>
          <a:endParaRPr lang="ru-RU" sz="1600" b="1"/>
        </a:p>
      </dgm:t>
    </dgm:pt>
    <dgm:pt modelId="{AD0801AC-47FB-4E37-8ABF-288936539488}" type="sibTrans" cxnId="{620DA4FC-D5A4-4751-8274-3D14F272F4BA}">
      <dgm:prSet/>
      <dgm:spPr/>
      <dgm:t>
        <a:bodyPr/>
        <a:lstStyle/>
        <a:p>
          <a:endParaRPr lang="ru-RU" sz="1600" b="1"/>
        </a:p>
      </dgm:t>
    </dgm:pt>
    <dgm:pt modelId="{A18600F6-ADA0-4967-8C69-A6D7261AC999}" type="pres">
      <dgm:prSet presAssocID="{2A4ED89F-ECEE-4330-BF32-715B30AEB8B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F9506815-63B4-48E6-B329-9B5DF0784549}" type="pres">
      <dgm:prSet presAssocID="{AB12C15C-C219-4D83-A192-9A372C3D827C}" presName="hierRoot1" presStyleCnt="0">
        <dgm:presLayoutVars>
          <dgm:hierBranch val="init"/>
        </dgm:presLayoutVars>
      </dgm:prSet>
      <dgm:spPr/>
    </dgm:pt>
    <dgm:pt modelId="{BBDF8ACF-C4FD-400B-89FD-5307B6F1650E}" type="pres">
      <dgm:prSet presAssocID="{AB12C15C-C219-4D83-A192-9A372C3D827C}" presName="rootComposite1" presStyleCnt="0"/>
      <dgm:spPr/>
    </dgm:pt>
    <dgm:pt modelId="{52CFBB1B-3BC7-43E4-8652-6AA804DFFCAF}" type="pres">
      <dgm:prSet presAssocID="{AB12C15C-C219-4D83-A192-9A372C3D827C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941AC4C-65DA-42CA-A5B4-24331B23D4EC}" type="pres">
      <dgm:prSet presAssocID="{AB12C15C-C219-4D83-A192-9A372C3D827C}" presName="rootConnector1" presStyleLbl="node1" presStyleIdx="0" presStyleCnt="0"/>
      <dgm:spPr/>
      <dgm:t>
        <a:bodyPr/>
        <a:lstStyle/>
        <a:p>
          <a:endParaRPr lang="ru-RU"/>
        </a:p>
      </dgm:t>
    </dgm:pt>
    <dgm:pt modelId="{B90EC1F9-7CBA-467A-89FE-3B5A6EE4FCE7}" type="pres">
      <dgm:prSet presAssocID="{AB12C15C-C219-4D83-A192-9A372C3D827C}" presName="hierChild2" presStyleCnt="0"/>
      <dgm:spPr/>
    </dgm:pt>
    <dgm:pt modelId="{8E37C197-4B59-4E73-B866-5321E7AE161C}" type="pres">
      <dgm:prSet presAssocID="{72F6AE61-FAF3-4066-B69B-8A30CD7A8678}" presName="Name37" presStyleLbl="parChTrans1D2" presStyleIdx="0" presStyleCnt="1"/>
      <dgm:spPr/>
      <dgm:t>
        <a:bodyPr/>
        <a:lstStyle/>
        <a:p>
          <a:endParaRPr lang="ru-RU"/>
        </a:p>
      </dgm:t>
    </dgm:pt>
    <dgm:pt modelId="{BD24CFFD-08B4-4665-A656-57EF1F013065}" type="pres">
      <dgm:prSet presAssocID="{E8775A26-75DB-4F12-BC42-73AC8646A22F}" presName="hierRoot2" presStyleCnt="0">
        <dgm:presLayoutVars>
          <dgm:hierBranch val="init"/>
        </dgm:presLayoutVars>
      </dgm:prSet>
      <dgm:spPr/>
    </dgm:pt>
    <dgm:pt modelId="{E6254DF3-70FC-4B9E-8A40-E9C766E49959}" type="pres">
      <dgm:prSet presAssocID="{E8775A26-75DB-4F12-BC42-73AC8646A22F}" presName="rootComposite" presStyleCnt="0"/>
      <dgm:spPr/>
    </dgm:pt>
    <dgm:pt modelId="{7F20C3A6-C27D-4269-9132-7964E75CF862}" type="pres">
      <dgm:prSet presAssocID="{E8775A26-75DB-4F12-BC42-73AC8646A22F}" presName="rootText" presStyleLbl="node2" presStyleIdx="0" presStyleCnt="1" custScaleY="124769" custLinFactNeighborY="-170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534F17F-D30D-4951-AC5B-A8716B40D6A9}" type="pres">
      <dgm:prSet presAssocID="{E8775A26-75DB-4F12-BC42-73AC8646A22F}" presName="rootConnector" presStyleLbl="node2" presStyleIdx="0" presStyleCnt="1"/>
      <dgm:spPr/>
      <dgm:t>
        <a:bodyPr/>
        <a:lstStyle/>
        <a:p>
          <a:endParaRPr lang="ru-RU"/>
        </a:p>
      </dgm:t>
    </dgm:pt>
    <dgm:pt modelId="{ABD00DCE-CE30-4965-8384-461E4C2A787E}" type="pres">
      <dgm:prSet presAssocID="{E8775A26-75DB-4F12-BC42-73AC8646A22F}" presName="hierChild4" presStyleCnt="0"/>
      <dgm:spPr/>
    </dgm:pt>
    <dgm:pt modelId="{469B1A4C-8666-472E-8A27-B7833C27E1E5}" type="pres">
      <dgm:prSet presAssocID="{E8775A26-75DB-4F12-BC42-73AC8646A22F}" presName="hierChild5" presStyleCnt="0"/>
      <dgm:spPr/>
    </dgm:pt>
    <dgm:pt modelId="{ABCAA6B1-7DC1-4715-9850-5C64195A1799}" type="pres">
      <dgm:prSet presAssocID="{AB12C15C-C219-4D83-A192-9A372C3D827C}" presName="hierChild3" presStyleCnt="0"/>
      <dgm:spPr/>
    </dgm:pt>
  </dgm:ptLst>
  <dgm:cxnLst>
    <dgm:cxn modelId="{620DA4FC-D5A4-4751-8274-3D14F272F4BA}" srcId="{AB12C15C-C219-4D83-A192-9A372C3D827C}" destId="{E8775A26-75DB-4F12-BC42-73AC8646A22F}" srcOrd="0" destOrd="0" parTransId="{72F6AE61-FAF3-4066-B69B-8A30CD7A8678}" sibTransId="{AD0801AC-47FB-4E37-8ABF-288936539488}"/>
    <dgm:cxn modelId="{A18851ED-1C98-4B33-8780-A01D05B84FA3}" type="presOf" srcId="{72F6AE61-FAF3-4066-B69B-8A30CD7A8678}" destId="{8E37C197-4B59-4E73-B866-5321E7AE161C}" srcOrd="0" destOrd="0" presId="urn:microsoft.com/office/officeart/2005/8/layout/orgChart1"/>
    <dgm:cxn modelId="{AB251274-305A-4D97-8631-40483E4D545E}" srcId="{2A4ED89F-ECEE-4330-BF32-715B30AEB8B9}" destId="{AB12C15C-C219-4D83-A192-9A372C3D827C}" srcOrd="0" destOrd="0" parTransId="{1981063D-C792-4E5C-AB13-FD6C6D8FAFDA}" sibTransId="{92C133E5-DFE2-43D7-80AE-47AA567F5BB2}"/>
    <dgm:cxn modelId="{00821DD2-7FA9-4023-9DBA-19A0B2F9DB7A}" type="presOf" srcId="{2A4ED89F-ECEE-4330-BF32-715B30AEB8B9}" destId="{A18600F6-ADA0-4967-8C69-A6D7261AC999}" srcOrd="0" destOrd="0" presId="urn:microsoft.com/office/officeart/2005/8/layout/orgChart1"/>
    <dgm:cxn modelId="{453E9A26-F43F-4315-9B70-68FA1E2C05CD}" type="presOf" srcId="{E8775A26-75DB-4F12-BC42-73AC8646A22F}" destId="{7F20C3A6-C27D-4269-9132-7964E75CF862}" srcOrd="0" destOrd="0" presId="urn:microsoft.com/office/officeart/2005/8/layout/orgChart1"/>
    <dgm:cxn modelId="{FA25B83D-21C0-4B66-8178-BC7F149A8C29}" type="presOf" srcId="{AB12C15C-C219-4D83-A192-9A372C3D827C}" destId="{52CFBB1B-3BC7-43E4-8652-6AA804DFFCAF}" srcOrd="0" destOrd="0" presId="urn:microsoft.com/office/officeart/2005/8/layout/orgChart1"/>
    <dgm:cxn modelId="{A26E6AC8-FAF6-42BB-A3FC-F86667087B1F}" type="presOf" srcId="{E8775A26-75DB-4F12-BC42-73AC8646A22F}" destId="{5534F17F-D30D-4951-AC5B-A8716B40D6A9}" srcOrd="1" destOrd="0" presId="urn:microsoft.com/office/officeart/2005/8/layout/orgChart1"/>
    <dgm:cxn modelId="{88CA8AD0-8896-4BED-812F-4E9D2871160B}" type="presOf" srcId="{AB12C15C-C219-4D83-A192-9A372C3D827C}" destId="{C941AC4C-65DA-42CA-A5B4-24331B23D4EC}" srcOrd="1" destOrd="0" presId="urn:microsoft.com/office/officeart/2005/8/layout/orgChart1"/>
    <dgm:cxn modelId="{A8059E6C-966C-4BF3-8748-24CD60CB9C76}" type="presParOf" srcId="{A18600F6-ADA0-4967-8C69-A6D7261AC999}" destId="{F9506815-63B4-48E6-B329-9B5DF0784549}" srcOrd="0" destOrd="0" presId="urn:microsoft.com/office/officeart/2005/8/layout/orgChart1"/>
    <dgm:cxn modelId="{AB58BF31-5048-4CE0-B386-582AA324B1CE}" type="presParOf" srcId="{F9506815-63B4-48E6-B329-9B5DF0784549}" destId="{BBDF8ACF-C4FD-400B-89FD-5307B6F1650E}" srcOrd="0" destOrd="0" presId="urn:microsoft.com/office/officeart/2005/8/layout/orgChart1"/>
    <dgm:cxn modelId="{1F8EFABE-3484-484B-A14A-BB96EA8EBAEB}" type="presParOf" srcId="{BBDF8ACF-C4FD-400B-89FD-5307B6F1650E}" destId="{52CFBB1B-3BC7-43E4-8652-6AA804DFFCAF}" srcOrd="0" destOrd="0" presId="urn:microsoft.com/office/officeart/2005/8/layout/orgChart1"/>
    <dgm:cxn modelId="{8B0D8616-48DC-41C2-A504-898C6F40D955}" type="presParOf" srcId="{BBDF8ACF-C4FD-400B-89FD-5307B6F1650E}" destId="{C941AC4C-65DA-42CA-A5B4-24331B23D4EC}" srcOrd="1" destOrd="0" presId="urn:microsoft.com/office/officeart/2005/8/layout/orgChart1"/>
    <dgm:cxn modelId="{A82525EF-0C1F-4A0D-85B0-FDA3FFE398D9}" type="presParOf" srcId="{F9506815-63B4-48E6-B329-9B5DF0784549}" destId="{B90EC1F9-7CBA-467A-89FE-3B5A6EE4FCE7}" srcOrd="1" destOrd="0" presId="urn:microsoft.com/office/officeart/2005/8/layout/orgChart1"/>
    <dgm:cxn modelId="{C491745A-46C8-431E-A163-3FF56581463A}" type="presParOf" srcId="{B90EC1F9-7CBA-467A-89FE-3B5A6EE4FCE7}" destId="{8E37C197-4B59-4E73-B866-5321E7AE161C}" srcOrd="0" destOrd="0" presId="urn:microsoft.com/office/officeart/2005/8/layout/orgChart1"/>
    <dgm:cxn modelId="{B83D8612-B97A-4D48-95B5-0DBF9F0691F6}" type="presParOf" srcId="{B90EC1F9-7CBA-467A-89FE-3B5A6EE4FCE7}" destId="{BD24CFFD-08B4-4665-A656-57EF1F013065}" srcOrd="1" destOrd="0" presId="urn:microsoft.com/office/officeart/2005/8/layout/orgChart1"/>
    <dgm:cxn modelId="{76CDAE60-E803-4890-8C3E-69DBF7400062}" type="presParOf" srcId="{BD24CFFD-08B4-4665-A656-57EF1F013065}" destId="{E6254DF3-70FC-4B9E-8A40-E9C766E49959}" srcOrd="0" destOrd="0" presId="urn:microsoft.com/office/officeart/2005/8/layout/orgChart1"/>
    <dgm:cxn modelId="{33564DE5-A7E6-4F2F-A9C6-768B359013E9}" type="presParOf" srcId="{E6254DF3-70FC-4B9E-8A40-E9C766E49959}" destId="{7F20C3A6-C27D-4269-9132-7964E75CF862}" srcOrd="0" destOrd="0" presId="urn:microsoft.com/office/officeart/2005/8/layout/orgChart1"/>
    <dgm:cxn modelId="{10699C4F-1D72-4924-B596-F760CBFA0E33}" type="presParOf" srcId="{E6254DF3-70FC-4B9E-8A40-E9C766E49959}" destId="{5534F17F-D30D-4951-AC5B-A8716B40D6A9}" srcOrd="1" destOrd="0" presId="urn:microsoft.com/office/officeart/2005/8/layout/orgChart1"/>
    <dgm:cxn modelId="{4376EA7D-FDCD-4ED8-89A4-630C1268D452}" type="presParOf" srcId="{BD24CFFD-08B4-4665-A656-57EF1F013065}" destId="{ABD00DCE-CE30-4965-8384-461E4C2A787E}" srcOrd="1" destOrd="0" presId="urn:microsoft.com/office/officeart/2005/8/layout/orgChart1"/>
    <dgm:cxn modelId="{835C149B-D202-44A8-B577-A783F355EEB1}" type="presParOf" srcId="{BD24CFFD-08B4-4665-A656-57EF1F013065}" destId="{469B1A4C-8666-472E-8A27-B7833C27E1E5}" srcOrd="2" destOrd="0" presId="urn:microsoft.com/office/officeart/2005/8/layout/orgChart1"/>
    <dgm:cxn modelId="{5FA06967-DBE6-4744-8190-BC4C9C64C88F}" type="presParOf" srcId="{F9506815-63B4-48E6-B329-9B5DF0784549}" destId="{ABCAA6B1-7DC1-4715-9850-5C64195A1799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FF82B6C-9F57-4DC7-90F5-D31A4EBB7C8B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CD61D369-6B04-41EC-B9D6-626341258D06}">
      <dgm:prSet phldrT="[Текст]" custT="1"/>
      <dgm:spPr/>
      <dgm:t>
        <a:bodyPr/>
        <a:lstStyle/>
        <a:p>
          <a:r>
            <a:rPr lang="ru-RU" sz="18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Национальный проект "</a:t>
          </a:r>
          <a:r>
            <a:rPr lang="ru-RU" sz="18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Демография"</a:t>
          </a:r>
          <a:endParaRPr lang="ru-RU" sz="1800"/>
        </a:p>
      </dgm:t>
    </dgm:pt>
    <dgm:pt modelId="{881C1363-6E45-4A4E-95E9-E144204829E5}" type="parTrans" cxnId="{37BA9958-D7EF-4D67-BB99-225B4761ED83}">
      <dgm:prSet/>
      <dgm:spPr/>
      <dgm:t>
        <a:bodyPr/>
        <a:lstStyle/>
        <a:p>
          <a:endParaRPr lang="ru-RU" sz="1600"/>
        </a:p>
      </dgm:t>
    </dgm:pt>
    <dgm:pt modelId="{9FEC040B-BA74-44F3-9EF1-BF492B75FBE0}" type="sibTrans" cxnId="{37BA9958-D7EF-4D67-BB99-225B4761ED83}">
      <dgm:prSet/>
      <dgm:spPr/>
      <dgm:t>
        <a:bodyPr/>
        <a:lstStyle/>
        <a:p>
          <a:endParaRPr lang="ru-RU" sz="1600"/>
        </a:p>
      </dgm:t>
    </dgm:pt>
    <dgm:pt modelId="{FF9A1A68-52F8-46BA-90CF-3540BB9792D2}">
      <dgm:prSet phldrT="[Текст]" custT="1"/>
      <dgm:spPr/>
      <dgm:t>
        <a:bodyPr/>
        <a:lstStyle/>
        <a:p>
          <a:r>
            <a:rPr lang="ru-RU" sz="1800"/>
            <a:t>ФП 1</a:t>
          </a:r>
        </a:p>
      </dgm:t>
    </dgm:pt>
    <dgm:pt modelId="{6757479F-595F-48B3-B71C-49DD8635A758}" type="parTrans" cxnId="{AB5693B1-F138-4FD6-92B0-C40331EEA8E6}">
      <dgm:prSet/>
      <dgm:spPr/>
      <dgm:t>
        <a:bodyPr/>
        <a:lstStyle/>
        <a:p>
          <a:endParaRPr lang="ru-RU" sz="1600"/>
        </a:p>
      </dgm:t>
    </dgm:pt>
    <dgm:pt modelId="{1A28A2C8-1881-400A-8EBF-ECB6D2852944}" type="sibTrans" cxnId="{AB5693B1-F138-4FD6-92B0-C40331EEA8E6}">
      <dgm:prSet/>
      <dgm:spPr/>
      <dgm:t>
        <a:bodyPr/>
        <a:lstStyle/>
        <a:p>
          <a:endParaRPr lang="ru-RU" sz="1600"/>
        </a:p>
      </dgm:t>
    </dgm:pt>
    <dgm:pt modelId="{933AD73C-4E6A-42BB-9BF4-8044E45BA09D}">
      <dgm:prSet phldrT="[Текст]" custT="1"/>
      <dgm:spPr/>
      <dgm:t>
        <a:bodyPr/>
        <a:lstStyle/>
        <a:p>
          <a:r>
            <a:rPr lang="ru-RU" sz="1800"/>
            <a:t>ФП 2</a:t>
          </a:r>
        </a:p>
      </dgm:t>
    </dgm:pt>
    <dgm:pt modelId="{9D00AFBD-7033-4DFD-8D09-7236E2BB0746}" type="parTrans" cxnId="{04FA9ED6-3FA4-42F2-9A7C-6F6FE9C9DA2D}">
      <dgm:prSet/>
      <dgm:spPr/>
      <dgm:t>
        <a:bodyPr/>
        <a:lstStyle/>
        <a:p>
          <a:endParaRPr lang="ru-RU" sz="1600"/>
        </a:p>
      </dgm:t>
    </dgm:pt>
    <dgm:pt modelId="{9437F0A0-03F9-493F-AEB3-570E3FE5202F}" type="sibTrans" cxnId="{04FA9ED6-3FA4-42F2-9A7C-6F6FE9C9DA2D}">
      <dgm:prSet/>
      <dgm:spPr/>
      <dgm:t>
        <a:bodyPr/>
        <a:lstStyle/>
        <a:p>
          <a:endParaRPr lang="ru-RU" sz="1600"/>
        </a:p>
      </dgm:t>
    </dgm:pt>
    <dgm:pt modelId="{D6A7C220-6663-448A-A312-68798C17C9D1}">
      <dgm:prSet phldrT="[Текст]" custT="1"/>
      <dgm:spPr/>
      <dgm:t>
        <a:bodyPr/>
        <a:lstStyle/>
        <a:p>
          <a:r>
            <a:rPr lang="ru-RU" sz="1800"/>
            <a:t>ФП 3</a:t>
          </a:r>
        </a:p>
      </dgm:t>
    </dgm:pt>
    <dgm:pt modelId="{635D01D2-6284-4F25-8E19-D6BC7F0ECC88}" type="parTrans" cxnId="{FFC02627-6D43-42C0-9220-043062E9D087}">
      <dgm:prSet/>
      <dgm:spPr/>
      <dgm:t>
        <a:bodyPr/>
        <a:lstStyle/>
        <a:p>
          <a:endParaRPr lang="ru-RU" sz="1600"/>
        </a:p>
      </dgm:t>
    </dgm:pt>
    <dgm:pt modelId="{0DA0150C-60DD-4B6C-BFF3-BBBE509F820A}" type="sibTrans" cxnId="{FFC02627-6D43-42C0-9220-043062E9D087}">
      <dgm:prSet/>
      <dgm:spPr/>
      <dgm:t>
        <a:bodyPr/>
        <a:lstStyle/>
        <a:p>
          <a:endParaRPr lang="ru-RU" sz="1600"/>
        </a:p>
      </dgm:t>
    </dgm:pt>
    <dgm:pt modelId="{E4AD40F1-8586-4574-AEAB-E6637CBE1DFA}">
      <dgm:prSet custT="1"/>
      <dgm:spPr/>
      <dgm:t>
        <a:bodyPr/>
        <a:lstStyle/>
        <a:p>
          <a:r>
            <a:rPr lang="ru-RU" sz="10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ФП 4 .Формирование системы мотивации граждан к здоровому образу жизни, включая здоровое питание и отказ от вредных привычек                                            </a:t>
          </a:r>
          <a:r>
            <a:rPr lang="ru-RU" sz="10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Укрепление общественного здоровья)</a:t>
          </a:r>
          <a:endParaRPr lang="ru-RU" sz="1000"/>
        </a:p>
      </dgm:t>
    </dgm:pt>
    <dgm:pt modelId="{1E6FCF70-3521-40CE-B4DC-B331C68BC2BB}" type="parTrans" cxnId="{85EC0E13-C743-4E87-8739-734461AF5198}">
      <dgm:prSet/>
      <dgm:spPr/>
      <dgm:t>
        <a:bodyPr/>
        <a:lstStyle/>
        <a:p>
          <a:endParaRPr lang="ru-RU" sz="1600"/>
        </a:p>
      </dgm:t>
    </dgm:pt>
    <dgm:pt modelId="{0E97C3D6-16C4-4E49-A767-0106B9CAD5C2}" type="sibTrans" cxnId="{85EC0E13-C743-4E87-8739-734461AF5198}">
      <dgm:prSet/>
      <dgm:spPr/>
      <dgm:t>
        <a:bodyPr/>
        <a:lstStyle/>
        <a:p>
          <a:endParaRPr lang="ru-RU" sz="1600"/>
        </a:p>
      </dgm:t>
    </dgm:pt>
    <dgm:pt modelId="{0A379740-68B8-4A23-8355-778D6A315D0A}">
      <dgm:prSet custT="1"/>
      <dgm:spPr/>
      <dgm:t>
        <a:bodyPr/>
        <a:lstStyle/>
        <a:p>
          <a:r>
            <a:rPr lang="ru-RU" sz="1800"/>
            <a:t>ФП 5</a:t>
          </a:r>
        </a:p>
      </dgm:t>
    </dgm:pt>
    <dgm:pt modelId="{A7E7B766-5331-4CD3-9B78-CD8DC71514F7}" type="parTrans" cxnId="{3C971B1E-16F4-476E-9F75-4176FF485131}">
      <dgm:prSet/>
      <dgm:spPr/>
      <dgm:t>
        <a:bodyPr/>
        <a:lstStyle/>
        <a:p>
          <a:endParaRPr lang="ru-RU" sz="1600"/>
        </a:p>
      </dgm:t>
    </dgm:pt>
    <dgm:pt modelId="{E88F22E0-04B4-4363-95F1-BD0B333789AB}" type="sibTrans" cxnId="{3C971B1E-16F4-476E-9F75-4176FF485131}">
      <dgm:prSet/>
      <dgm:spPr/>
      <dgm:t>
        <a:bodyPr/>
        <a:lstStyle/>
        <a:p>
          <a:endParaRPr lang="ru-RU" sz="1600"/>
        </a:p>
      </dgm:t>
    </dgm:pt>
    <dgm:pt modelId="{0695DFA9-07D9-4B9C-8191-8BAE1E082F7D}">
      <dgm:prSet custT="1"/>
      <dgm:spPr/>
      <dgm:t>
        <a:bodyPr/>
        <a:lstStyle/>
        <a:p>
          <a:r>
            <a:rPr lang="ru-RU" sz="105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Задача: Формирование системы мотивации граждан к здоровому образу жизни, включая здоровое питание и отказ от вредных привычек</a:t>
          </a:r>
          <a:r>
            <a:rPr lang="ru-RU" sz="1050"/>
            <a:t>.</a:t>
          </a:r>
        </a:p>
      </dgm:t>
    </dgm:pt>
    <dgm:pt modelId="{0FF2AFBB-B354-4BB6-B5BC-D2F1552BE80F}" type="parTrans" cxnId="{62627177-D673-4A78-A80D-6141C982B3D5}">
      <dgm:prSet/>
      <dgm:spPr/>
      <dgm:t>
        <a:bodyPr/>
        <a:lstStyle/>
        <a:p>
          <a:endParaRPr lang="ru-RU" sz="1600"/>
        </a:p>
      </dgm:t>
    </dgm:pt>
    <dgm:pt modelId="{EE0136F7-339B-47DE-AFEB-B3C51987DF47}" type="sibTrans" cxnId="{62627177-D673-4A78-A80D-6141C982B3D5}">
      <dgm:prSet/>
      <dgm:spPr/>
      <dgm:t>
        <a:bodyPr/>
        <a:lstStyle/>
        <a:p>
          <a:endParaRPr lang="ru-RU" sz="1600"/>
        </a:p>
      </dgm:t>
    </dgm:pt>
    <dgm:pt modelId="{AD0F54D7-88A3-4E4E-846C-66F75E785E93}">
      <dgm:prSet custT="1"/>
      <dgm:spPr/>
      <dgm:t>
        <a:bodyPr/>
        <a:lstStyle/>
        <a:p>
          <a:r>
            <a:rPr lang="ru-RU" sz="1050">
              <a:latin typeface="Arial" panose="020B0604020202020204" pitchFamily="34" charset="0"/>
              <a:cs typeface="Arial" panose="020B0604020202020204" pitchFamily="34" charset="0"/>
            </a:rPr>
            <a:t>1. Формирование среды, способствующей ведению гражданами здорового образа жизни, включая здоровое питание (в том числе ликвидацию микронутриентной недостаточности, сокращение потребления соли и сахара), защиту от табачного дыма, снижение потребления алкоголя. Развитие инфраструктуры общественного здоровья, повышение обеспеченности кадрами в сфере общественного здоровья</a:t>
          </a:r>
        </a:p>
      </dgm:t>
    </dgm:pt>
    <dgm:pt modelId="{3EDAE80C-7392-4EFC-8CCE-3BD7D13592D7}" type="parTrans" cxnId="{C4B9BF8C-70E3-4BCC-852C-645B266665FB}">
      <dgm:prSet/>
      <dgm:spPr/>
      <dgm:t>
        <a:bodyPr/>
        <a:lstStyle/>
        <a:p>
          <a:endParaRPr lang="ru-RU" sz="1600"/>
        </a:p>
      </dgm:t>
    </dgm:pt>
    <dgm:pt modelId="{2C45A379-529C-4224-BEB5-08CD00AA2EE9}" type="sibTrans" cxnId="{C4B9BF8C-70E3-4BCC-852C-645B266665FB}">
      <dgm:prSet/>
      <dgm:spPr/>
      <dgm:t>
        <a:bodyPr/>
        <a:lstStyle/>
        <a:p>
          <a:endParaRPr lang="ru-RU" sz="1600"/>
        </a:p>
      </dgm:t>
    </dgm:pt>
    <dgm:pt modelId="{5BCE70FA-3355-4F29-9CD1-97B07B8292F3}">
      <dgm:prSet custT="1"/>
      <dgm:spPr/>
      <dgm:t>
        <a:bodyPr/>
        <a:lstStyle/>
        <a:p>
          <a:r>
            <a:rPr lang="ru-RU" sz="1050" dirty="0">
              <a:latin typeface="Arial" panose="020B0604020202020204" pitchFamily="34" charset="0"/>
              <a:cs typeface="Arial" panose="020B0604020202020204" pitchFamily="34" charset="0"/>
            </a:rPr>
            <a:t>2. Мотивирование граждан к ведению здорового образа жизни посредством проведения информационно-коммуникационной кампании, </a:t>
          </a:r>
          <a:r>
            <a:rPr lang="ru-RU" sz="105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rPr>
            <a:t>а также вовлечения граждан и некоммерческих организаций в мероприятия по укреплению общественного здоровья.</a:t>
          </a:r>
        </a:p>
      </dgm:t>
    </dgm:pt>
    <dgm:pt modelId="{ADE0AB8B-9AF8-4F17-96D6-4A179160BB6B}" type="parTrans" cxnId="{1ED3D5DA-C937-4B9C-9E66-8C0B4ABDF4F6}">
      <dgm:prSet/>
      <dgm:spPr/>
      <dgm:t>
        <a:bodyPr/>
        <a:lstStyle/>
        <a:p>
          <a:endParaRPr lang="ru-RU" sz="1600"/>
        </a:p>
      </dgm:t>
    </dgm:pt>
    <dgm:pt modelId="{93334F78-99F2-4685-8B6E-1FEF67ADEF78}" type="sibTrans" cxnId="{1ED3D5DA-C937-4B9C-9E66-8C0B4ABDF4F6}">
      <dgm:prSet/>
      <dgm:spPr/>
      <dgm:t>
        <a:bodyPr/>
        <a:lstStyle/>
        <a:p>
          <a:endParaRPr lang="ru-RU" sz="1600"/>
        </a:p>
      </dgm:t>
    </dgm:pt>
    <dgm:pt modelId="{277AA7E4-4CA5-4F76-B520-C8F4A1AFABAE}">
      <dgm:prSet custT="1"/>
      <dgm:spPr/>
      <dgm:t>
        <a:bodyPr/>
        <a:lstStyle/>
        <a:p>
          <a:r>
            <a:rPr lang="ru-RU" sz="1050">
              <a:latin typeface="Arial" panose="020B0604020202020204" pitchFamily="34" charset="0"/>
              <a:cs typeface="Arial" panose="020B0604020202020204" pitchFamily="34" charset="0"/>
            </a:rPr>
            <a:t>3.  Разработка и внедрение программ укрепления здоровья на рабочем месте (корпоративных программ укрепления здоровья)..</a:t>
          </a:r>
        </a:p>
      </dgm:t>
    </dgm:pt>
    <dgm:pt modelId="{13DF5346-F94D-455B-840A-AA7B4BE135FF}" type="parTrans" cxnId="{B182D41C-2C0F-48ED-9E26-BAA204AE19D6}">
      <dgm:prSet/>
      <dgm:spPr/>
      <dgm:t>
        <a:bodyPr/>
        <a:lstStyle/>
        <a:p>
          <a:endParaRPr lang="ru-RU" sz="1600"/>
        </a:p>
      </dgm:t>
    </dgm:pt>
    <dgm:pt modelId="{CE6F23C0-701E-4212-A5D4-58A45AC881F2}" type="sibTrans" cxnId="{B182D41C-2C0F-48ED-9E26-BAA204AE19D6}">
      <dgm:prSet/>
      <dgm:spPr/>
      <dgm:t>
        <a:bodyPr/>
        <a:lstStyle/>
        <a:p>
          <a:endParaRPr lang="ru-RU" sz="1600"/>
        </a:p>
      </dgm:t>
    </dgm:pt>
    <dgm:pt modelId="{B049FB78-9DB0-464A-A976-FDF707D47FBB}" type="pres">
      <dgm:prSet presAssocID="{3FF82B6C-9F57-4DC7-90F5-D31A4EBB7C8B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F0E42653-DB83-440B-8FE7-43B8DCD0D308}" type="pres">
      <dgm:prSet presAssocID="{CD61D369-6B04-41EC-B9D6-626341258D06}" presName="hierRoot1" presStyleCnt="0">
        <dgm:presLayoutVars>
          <dgm:hierBranch val="init"/>
        </dgm:presLayoutVars>
      </dgm:prSet>
      <dgm:spPr/>
    </dgm:pt>
    <dgm:pt modelId="{005DD6AC-FF8D-4CDF-B1E5-C15556A3A179}" type="pres">
      <dgm:prSet presAssocID="{CD61D369-6B04-41EC-B9D6-626341258D06}" presName="rootComposite1" presStyleCnt="0"/>
      <dgm:spPr/>
    </dgm:pt>
    <dgm:pt modelId="{36B4CD43-2BD7-4FA9-B02A-52C2F1FED79B}" type="pres">
      <dgm:prSet presAssocID="{CD61D369-6B04-41EC-B9D6-626341258D06}" presName="rootText1" presStyleLbl="node0" presStyleIdx="0" presStyleCnt="1" custScaleX="45952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39E49FA8-0A10-4462-A83B-2D75323E0C5F}" type="pres">
      <dgm:prSet presAssocID="{CD61D369-6B04-41EC-B9D6-626341258D06}" presName="rootConnector1" presStyleLbl="node1" presStyleIdx="0" presStyleCnt="0"/>
      <dgm:spPr/>
      <dgm:t>
        <a:bodyPr/>
        <a:lstStyle/>
        <a:p>
          <a:endParaRPr lang="ru-RU"/>
        </a:p>
      </dgm:t>
    </dgm:pt>
    <dgm:pt modelId="{4C70364E-6A77-45B2-81F0-C1FBEE45B93D}" type="pres">
      <dgm:prSet presAssocID="{CD61D369-6B04-41EC-B9D6-626341258D06}" presName="hierChild2" presStyleCnt="0"/>
      <dgm:spPr/>
    </dgm:pt>
    <dgm:pt modelId="{3966AEF8-F5A8-4C59-8915-7C660AA9FEAD}" type="pres">
      <dgm:prSet presAssocID="{6757479F-595F-48B3-B71C-49DD8635A758}" presName="Name37" presStyleLbl="parChTrans1D2" presStyleIdx="0" presStyleCnt="5"/>
      <dgm:spPr/>
      <dgm:t>
        <a:bodyPr/>
        <a:lstStyle/>
        <a:p>
          <a:endParaRPr lang="ru-RU"/>
        </a:p>
      </dgm:t>
    </dgm:pt>
    <dgm:pt modelId="{80E3DAAF-7F65-442A-BDC3-F6DEFE13091C}" type="pres">
      <dgm:prSet presAssocID="{FF9A1A68-52F8-46BA-90CF-3540BB9792D2}" presName="hierRoot2" presStyleCnt="0">
        <dgm:presLayoutVars>
          <dgm:hierBranch val="init"/>
        </dgm:presLayoutVars>
      </dgm:prSet>
      <dgm:spPr/>
    </dgm:pt>
    <dgm:pt modelId="{6F300503-FD51-4920-B70D-F79921534AB5}" type="pres">
      <dgm:prSet presAssocID="{FF9A1A68-52F8-46BA-90CF-3540BB9792D2}" presName="rootComposite" presStyleCnt="0"/>
      <dgm:spPr/>
    </dgm:pt>
    <dgm:pt modelId="{6399792F-A596-4308-96E1-CC43975FC15C}" type="pres">
      <dgm:prSet presAssocID="{FF9A1A68-52F8-46BA-90CF-3540BB9792D2}" presName="rootText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C5136FE-E7D5-4A87-A843-CA1760D88FE6}" type="pres">
      <dgm:prSet presAssocID="{FF9A1A68-52F8-46BA-90CF-3540BB9792D2}" presName="rootConnector" presStyleLbl="node2" presStyleIdx="0" presStyleCnt="5"/>
      <dgm:spPr/>
      <dgm:t>
        <a:bodyPr/>
        <a:lstStyle/>
        <a:p>
          <a:endParaRPr lang="ru-RU"/>
        </a:p>
      </dgm:t>
    </dgm:pt>
    <dgm:pt modelId="{D4B888DE-5901-46A0-B5C3-0E2805941186}" type="pres">
      <dgm:prSet presAssocID="{FF9A1A68-52F8-46BA-90CF-3540BB9792D2}" presName="hierChild4" presStyleCnt="0"/>
      <dgm:spPr/>
    </dgm:pt>
    <dgm:pt modelId="{D4B086A7-35D3-4A2D-898C-C03180131CBA}" type="pres">
      <dgm:prSet presAssocID="{FF9A1A68-52F8-46BA-90CF-3540BB9792D2}" presName="hierChild5" presStyleCnt="0"/>
      <dgm:spPr/>
    </dgm:pt>
    <dgm:pt modelId="{FA8ED15B-905C-48BE-BD03-B37F4EBD7739}" type="pres">
      <dgm:prSet presAssocID="{9D00AFBD-7033-4DFD-8D09-7236E2BB0746}" presName="Name37" presStyleLbl="parChTrans1D2" presStyleIdx="1" presStyleCnt="5"/>
      <dgm:spPr/>
      <dgm:t>
        <a:bodyPr/>
        <a:lstStyle/>
        <a:p>
          <a:endParaRPr lang="ru-RU"/>
        </a:p>
      </dgm:t>
    </dgm:pt>
    <dgm:pt modelId="{2EB0AE9C-2AAB-4EEF-96BC-664C6FEA2276}" type="pres">
      <dgm:prSet presAssocID="{933AD73C-4E6A-42BB-9BF4-8044E45BA09D}" presName="hierRoot2" presStyleCnt="0">
        <dgm:presLayoutVars>
          <dgm:hierBranch val="init"/>
        </dgm:presLayoutVars>
      </dgm:prSet>
      <dgm:spPr/>
    </dgm:pt>
    <dgm:pt modelId="{B03E0A89-638F-4D6C-915A-7B52D05AC681}" type="pres">
      <dgm:prSet presAssocID="{933AD73C-4E6A-42BB-9BF4-8044E45BA09D}" presName="rootComposite" presStyleCnt="0"/>
      <dgm:spPr/>
    </dgm:pt>
    <dgm:pt modelId="{DCB38D73-7A11-4AC7-8446-DA3DCC7560EC}" type="pres">
      <dgm:prSet presAssocID="{933AD73C-4E6A-42BB-9BF4-8044E45BA09D}" presName="rootText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B9B9C37-2BD9-43AA-8249-54BD4D581A3F}" type="pres">
      <dgm:prSet presAssocID="{933AD73C-4E6A-42BB-9BF4-8044E45BA09D}" presName="rootConnector" presStyleLbl="node2" presStyleIdx="1" presStyleCnt="5"/>
      <dgm:spPr/>
      <dgm:t>
        <a:bodyPr/>
        <a:lstStyle/>
        <a:p>
          <a:endParaRPr lang="ru-RU"/>
        </a:p>
      </dgm:t>
    </dgm:pt>
    <dgm:pt modelId="{5A063D67-AF88-4620-AB96-89706F53CB2B}" type="pres">
      <dgm:prSet presAssocID="{933AD73C-4E6A-42BB-9BF4-8044E45BA09D}" presName="hierChild4" presStyleCnt="0"/>
      <dgm:spPr/>
    </dgm:pt>
    <dgm:pt modelId="{B7C3CB78-134C-4588-9EC3-046602F8A8CE}" type="pres">
      <dgm:prSet presAssocID="{933AD73C-4E6A-42BB-9BF4-8044E45BA09D}" presName="hierChild5" presStyleCnt="0"/>
      <dgm:spPr/>
    </dgm:pt>
    <dgm:pt modelId="{3700AD47-F26B-4CDB-9479-B129F0ED456E}" type="pres">
      <dgm:prSet presAssocID="{635D01D2-6284-4F25-8E19-D6BC7F0ECC88}" presName="Name37" presStyleLbl="parChTrans1D2" presStyleIdx="2" presStyleCnt="5"/>
      <dgm:spPr/>
      <dgm:t>
        <a:bodyPr/>
        <a:lstStyle/>
        <a:p>
          <a:endParaRPr lang="ru-RU"/>
        </a:p>
      </dgm:t>
    </dgm:pt>
    <dgm:pt modelId="{9DF09194-1B4C-451E-B8A0-D27FDDCCBED3}" type="pres">
      <dgm:prSet presAssocID="{D6A7C220-6663-448A-A312-68798C17C9D1}" presName="hierRoot2" presStyleCnt="0">
        <dgm:presLayoutVars>
          <dgm:hierBranch val="init"/>
        </dgm:presLayoutVars>
      </dgm:prSet>
      <dgm:spPr/>
    </dgm:pt>
    <dgm:pt modelId="{CD3DD52D-8B13-4DF2-8EF8-B73EFD6DA85B}" type="pres">
      <dgm:prSet presAssocID="{D6A7C220-6663-448A-A312-68798C17C9D1}" presName="rootComposite" presStyleCnt="0"/>
      <dgm:spPr/>
    </dgm:pt>
    <dgm:pt modelId="{D8E45426-6E9E-4E9B-87B5-FFC46F988733}" type="pres">
      <dgm:prSet presAssocID="{D6A7C220-6663-448A-A312-68798C17C9D1}" presName="rootText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6344C67-3DE0-4920-910A-3F7997A8AC03}" type="pres">
      <dgm:prSet presAssocID="{D6A7C220-6663-448A-A312-68798C17C9D1}" presName="rootConnector" presStyleLbl="node2" presStyleIdx="2" presStyleCnt="5"/>
      <dgm:spPr/>
      <dgm:t>
        <a:bodyPr/>
        <a:lstStyle/>
        <a:p>
          <a:endParaRPr lang="ru-RU"/>
        </a:p>
      </dgm:t>
    </dgm:pt>
    <dgm:pt modelId="{CE7B6A9C-8C8D-4A81-894F-CEA996EE5207}" type="pres">
      <dgm:prSet presAssocID="{D6A7C220-6663-448A-A312-68798C17C9D1}" presName="hierChild4" presStyleCnt="0"/>
      <dgm:spPr/>
    </dgm:pt>
    <dgm:pt modelId="{7D61313A-0739-412A-AC9A-2CFBE31FCDD5}" type="pres">
      <dgm:prSet presAssocID="{D6A7C220-6663-448A-A312-68798C17C9D1}" presName="hierChild5" presStyleCnt="0"/>
      <dgm:spPr/>
    </dgm:pt>
    <dgm:pt modelId="{589185AB-A836-4B5D-A1D4-1F14ED438778}" type="pres">
      <dgm:prSet presAssocID="{1E6FCF70-3521-40CE-B4DC-B331C68BC2BB}" presName="Name37" presStyleLbl="parChTrans1D2" presStyleIdx="3" presStyleCnt="5"/>
      <dgm:spPr/>
      <dgm:t>
        <a:bodyPr/>
        <a:lstStyle/>
        <a:p>
          <a:endParaRPr lang="ru-RU"/>
        </a:p>
      </dgm:t>
    </dgm:pt>
    <dgm:pt modelId="{09468309-7CBB-4F3A-BA54-28CFD3E71ACA}" type="pres">
      <dgm:prSet presAssocID="{E4AD40F1-8586-4574-AEAB-E6637CBE1DFA}" presName="hierRoot2" presStyleCnt="0">
        <dgm:presLayoutVars>
          <dgm:hierBranch/>
        </dgm:presLayoutVars>
      </dgm:prSet>
      <dgm:spPr/>
    </dgm:pt>
    <dgm:pt modelId="{961ACA0F-F7AA-4F69-A3FC-D86391D7BF68}" type="pres">
      <dgm:prSet presAssocID="{E4AD40F1-8586-4574-AEAB-E6637CBE1DFA}" presName="rootComposite" presStyleCnt="0"/>
      <dgm:spPr/>
    </dgm:pt>
    <dgm:pt modelId="{4EBA6BB7-8573-4B5D-843F-3F9FBAE5A5F4}" type="pres">
      <dgm:prSet presAssocID="{E4AD40F1-8586-4574-AEAB-E6637CBE1DFA}" presName="rootText" presStyleLbl="node2" presStyleIdx="3" presStyleCnt="5" custScaleX="32363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CC8BAFE-2B4F-4F38-95B1-A534B719E399}" type="pres">
      <dgm:prSet presAssocID="{E4AD40F1-8586-4574-AEAB-E6637CBE1DFA}" presName="rootConnector" presStyleLbl="node2" presStyleIdx="3" presStyleCnt="5"/>
      <dgm:spPr/>
      <dgm:t>
        <a:bodyPr/>
        <a:lstStyle/>
        <a:p>
          <a:endParaRPr lang="ru-RU"/>
        </a:p>
      </dgm:t>
    </dgm:pt>
    <dgm:pt modelId="{39A08037-4740-45F2-8752-AFD6B49D922B}" type="pres">
      <dgm:prSet presAssocID="{E4AD40F1-8586-4574-AEAB-E6637CBE1DFA}" presName="hierChild4" presStyleCnt="0"/>
      <dgm:spPr/>
    </dgm:pt>
    <dgm:pt modelId="{1B84CDAF-B325-4BB8-9E1F-857BFB5F2807}" type="pres">
      <dgm:prSet presAssocID="{0FF2AFBB-B354-4BB6-B5BC-D2F1552BE80F}" presName="Name35" presStyleLbl="parChTrans1D3" presStyleIdx="0" presStyleCnt="1"/>
      <dgm:spPr/>
      <dgm:t>
        <a:bodyPr/>
        <a:lstStyle/>
        <a:p>
          <a:endParaRPr lang="ru-RU"/>
        </a:p>
      </dgm:t>
    </dgm:pt>
    <dgm:pt modelId="{AC4F0A37-BA5D-4540-8D20-19D67BCA7EF3}" type="pres">
      <dgm:prSet presAssocID="{0695DFA9-07D9-4B9C-8191-8BAE1E082F7D}" presName="hierRoot2" presStyleCnt="0">
        <dgm:presLayoutVars>
          <dgm:hierBranch/>
        </dgm:presLayoutVars>
      </dgm:prSet>
      <dgm:spPr/>
    </dgm:pt>
    <dgm:pt modelId="{69634F44-C27A-4E75-8D75-656A9A32D37F}" type="pres">
      <dgm:prSet presAssocID="{0695DFA9-07D9-4B9C-8191-8BAE1E082F7D}" presName="rootComposite" presStyleCnt="0"/>
      <dgm:spPr/>
    </dgm:pt>
    <dgm:pt modelId="{D345E497-355A-4A50-84FF-FF027FA55BCE}" type="pres">
      <dgm:prSet presAssocID="{0695DFA9-07D9-4B9C-8191-8BAE1E082F7D}" presName="rootText" presStyleLbl="node3" presStyleIdx="0" presStyleCnt="1" custScaleX="32424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1840A4D-9544-4120-A728-EEE0090A72D8}" type="pres">
      <dgm:prSet presAssocID="{0695DFA9-07D9-4B9C-8191-8BAE1E082F7D}" presName="rootConnector" presStyleLbl="node3" presStyleIdx="0" presStyleCnt="1"/>
      <dgm:spPr/>
      <dgm:t>
        <a:bodyPr/>
        <a:lstStyle/>
        <a:p>
          <a:endParaRPr lang="ru-RU"/>
        </a:p>
      </dgm:t>
    </dgm:pt>
    <dgm:pt modelId="{7194D9B9-659E-465D-9D33-390C87F8C898}" type="pres">
      <dgm:prSet presAssocID="{0695DFA9-07D9-4B9C-8191-8BAE1E082F7D}" presName="hierChild4" presStyleCnt="0"/>
      <dgm:spPr/>
    </dgm:pt>
    <dgm:pt modelId="{FEAFD93B-5AD0-4DCF-B8B4-22D7FDADC742}" type="pres">
      <dgm:prSet presAssocID="{3EDAE80C-7392-4EFC-8CCE-3BD7D13592D7}" presName="Name35" presStyleLbl="parChTrans1D4" presStyleIdx="0" presStyleCnt="3"/>
      <dgm:spPr/>
      <dgm:t>
        <a:bodyPr/>
        <a:lstStyle/>
        <a:p>
          <a:endParaRPr lang="ru-RU"/>
        </a:p>
      </dgm:t>
    </dgm:pt>
    <dgm:pt modelId="{1933B472-F3D2-4BDB-BA44-DB2089289CED}" type="pres">
      <dgm:prSet presAssocID="{AD0F54D7-88A3-4E4E-846C-66F75E785E93}" presName="hierRoot2" presStyleCnt="0">
        <dgm:presLayoutVars>
          <dgm:hierBranch val="init"/>
        </dgm:presLayoutVars>
      </dgm:prSet>
      <dgm:spPr/>
    </dgm:pt>
    <dgm:pt modelId="{FBF55A8C-AD4A-4DA6-83F6-7FFDBFEFA010}" type="pres">
      <dgm:prSet presAssocID="{AD0F54D7-88A3-4E4E-846C-66F75E785E93}" presName="rootComposite" presStyleCnt="0"/>
      <dgm:spPr/>
    </dgm:pt>
    <dgm:pt modelId="{E5EB745B-D011-4A26-860F-75D3D3412E8F}" type="pres">
      <dgm:prSet presAssocID="{AD0F54D7-88A3-4E4E-846C-66F75E785E93}" presName="rootText" presStyleLbl="node4" presStyleIdx="0" presStyleCnt="3" custScaleX="206412" custScaleY="39906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BFE200C-4FEE-463B-AD72-9BB5CF4CC089}" type="pres">
      <dgm:prSet presAssocID="{AD0F54D7-88A3-4E4E-846C-66F75E785E93}" presName="rootConnector" presStyleLbl="node4" presStyleIdx="0" presStyleCnt="3"/>
      <dgm:spPr/>
      <dgm:t>
        <a:bodyPr/>
        <a:lstStyle/>
        <a:p>
          <a:endParaRPr lang="ru-RU"/>
        </a:p>
      </dgm:t>
    </dgm:pt>
    <dgm:pt modelId="{7BA379A1-8BAF-4BB1-8875-99A74EF5CAAD}" type="pres">
      <dgm:prSet presAssocID="{AD0F54D7-88A3-4E4E-846C-66F75E785E93}" presName="hierChild4" presStyleCnt="0"/>
      <dgm:spPr/>
    </dgm:pt>
    <dgm:pt modelId="{786159AF-B4CB-4C8E-A322-64306265F9CF}" type="pres">
      <dgm:prSet presAssocID="{AD0F54D7-88A3-4E4E-846C-66F75E785E93}" presName="hierChild5" presStyleCnt="0"/>
      <dgm:spPr/>
    </dgm:pt>
    <dgm:pt modelId="{77AC749C-41A7-473C-BC89-5DA269E5C6AC}" type="pres">
      <dgm:prSet presAssocID="{ADE0AB8B-9AF8-4F17-96D6-4A179160BB6B}" presName="Name35" presStyleLbl="parChTrans1D4" presStyleIdx="1" presStyleCnt="3"/>
      <dgm:spPr/>
      <dgm:t>
        <a:bodyPr/>
        <a:lstStyle/>
        <a:p>
          <a:endParaRPr lang="ru-RU"/>
        </a:p>
      </dgm:t>
    </dgm:pt>
    <dgm:pt modelId="{57769B30-50F9-4AB3-B064-D31ADB5FE3F0}" type="pres">
      <dgm:prSet presAssocID="{5BCE70FA-3355-4F29-9CD1-97B07B8292F3}" presName="hierRoot2" presStyleCnt="0">
        <dgm:presLayoutVars>
          <dgm:hierBranch val="init"/>
        </dgm:presLayoutVars>
      </dgm:prSet>
      <dgm:spPr/>
    </dgm:pt>
    <dgm:pt modelId="{123C77A0-FB23-477B-ABF7-F4734E9BB15F}" type="pres">
      <dgm:prSet presAssocID="{5BCE70FA-3355-4F29-9CD1-97B07B8292F3}" presName="rootComposite" presStyleCnt="0"/>
      <dgm:spPr/>
    </dgm:pt>
    <dgm:pt modelId="{22A5FF0E-B4DB-4FF5-BCD7-B124A7DAC806}" type="pres">
      <dgm:prSet presAssocID="{5BCE70FA-3355-4F29-9CD1-97B07B8292F3}" presName="rootText" presStyleLbl="node4" presStyleIdx="1" presStyleCnt="3" custScaleX="134867" custScaleY="39786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47B3236-8B6E-4549-AD29-4ED5D022C3AF}" type="pres">
      <dgm:prSet presAssocID="{5BCE70FA-3355-4F29-9CD1-97B07B8292F3}" presName="rootConnector" presStyleLbl="node4" presStyleIdx="1" presStyleCnt="3"/>
      <dgm:spPr/>
      <dgm:t>
        <a:bodyPr/>
        <a:lstStyle/>
        <a:p>
          <a:endParaRPr lang="ru-RU"/>
        </a:p>
      </dgm:t>
    </dgm:pt>
    <dgm:pt modelId="{0F1E7061-B13A-4F0F-AA5E-94CF6F7F705F}" type="pres">
      <dgm:prSet presAssocID="{5BCE70FA-3355-4F29-9CD1-97B07B8292F3}" presName="hierChild4" presStyleCnt="0"/>
      <dgm:spPr/>
    </dgm:pt>
    <dgm:pt modelId="{C9F75201-1635-4930-86BB-16A7ED1AE9FA}" type="pres">
      <dgm:prSet presAssocID="{5BCE70FA-3355-4F29-9CD1-97B07B8292F3}" presName="hierChild5" presStyleCnt="0"/>
      <dgm:spPr/>
    </dgm:pt>
    <dgm:pt modelId="{097A56B4-8A69-462A-A9FF-78AF15E23DCA}" type="pres">
      <dgm:prSet presAssocID="{13DF5346-F94D-455B-840A-AA7B4BE135FF}" presName="Name35" presStyleLbl="parChTrans1D4" presStyleIdx="2" presStyleCnt="3"/>
      <dgm:spPr/>
      <dgm:t>
        <a:bodyPr/>
        <a:lstStyle/>
        <a:p>
          <a:endParaRPr lang="ru-RU"/>
        </a:p>
      </dgm:t>
    </dgm:pt>
    <dgm:pt modelId="{01C50897-4484-4136-85CE-42D6CF81ACBE}" type="pres">
      <dgm:prSet presAssocID="{277AA7E4-4CA5-4F76-B520-C8F4A1AFABAE}" presName="hierRoot2" presStyleCnt="0">
        <dgm:presLayoutVars>
          <dgm:hierBranch val="init"/>
        </dgm:presLayoutVars>
      </dgm:prSet>
      <dgm:spPr/>
    </dgm:pt>
    <dgm:pt modelId="{2A02BB06-1586-49F5-98EA-2317376BF512}" type="pres">
      <dgm:prSet presAssocID="{277AA7E4-4CA5-4F76-B520-C8F4A1AFABAE}" presName="rootComposite" presStyleCnt="0"/>
      <dgm:spPr/>
    </dgm:pt>
    <dgm:pt modelId="{C3838851-E40A-4FFB-8488-CEBFA38CC683}" type="pres">
      <dgm:prSet presAssocID="{277AA7E4-4CA5-4F76-B520-C8F4A1AFABAE}" presName="rootText" presStyleLbl="node4" presStyleIdx="2" presStyleCnt="3" custScaleX="104628" custScaleY="39383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922530D-EF39-47F0-B40D-214618369C8F}" type="pres">
      <dgm:prSet presAssocID="{277AA7E4-4CA5-4F76-B520-C8F4A1AFABAE}" presName="rootConnector" presStyleLbl="node4" presStyleIdx="2" presStyleCnt="3"/>
      <dgm:spPr/>
      <dgm:t>
        <a:bodyPr/>
        <a:lstStyle/>
        <a:p>
          <a:endParaRPr lang="ru-RU"/>
        </a:p>
      </dgm:t>
    </dgm:pt>
    <dgm:pt modelId="{07A97172-8AC1-4BCF-8D0A-B0D79736608A}" type="pres">
      <dgm:prSet presAssocID="{277AA7E4-4CA5-4F76-B520-C8F4A1AFABAE}" presName="hierChild4" presStyleCnt="0"/>
      <dgm:spPr/>
    </dgm:pt>
    <dgm:pt modelId="{7CDD8743-0CC2-48A0-8D9D-BDE36C24804F}" type="pres">
      <dgm:prSet presAssocID="{277AA7E4-4CA5-4F76-B520-C8F4A1AFABAE}" presName="hierChild5" presStyleCnt="0"/>
      <dgm:spPr/>
    </dgm:pt>
    <dgm:pt modelId="{A54B0CD8-1A0B-40B3-B852-24201633085D}" type="pres">
      <dgm:prSet presAssocID="{0695DFA9-07D9-4B9C-8191-8BAE1E082F7D}" presName="hierChild5" presStyleCnt="0"/>
      <dgm:spPr/>
    </dgm:pt>
    <dgm:pt modelId="{78D0784D-69E1-47A6-A05E-9898D13C6CE8}" type="pres">
      <dgm:prSet presAssocID="{E4AD40F1-8586-4574-AEAB-E6637CBE1DFA}" presName="hierChild5" presStyleCnt="0"/>
      <dgm:spPr/>
    </dgm:pt>
    <dgm:pt modelId="{28BF8A18-A4A0-408D-B2CF-1DF0438D41DC}" type="pres">
      <dgm:prSet presAssocID="{A7E7B766-5331-4CD3-9B78-CD8DC71514F7}" presName="Name37" presStyleLbl="parChTrans1D2" presStyleIdx="4" presStyleCnt="5"/>
      <dgm:spPr/>
      <dgm:t>
        <a:bodyPr/>
        <a:lstStyle/>
        <a:p>
          <a:endParaRPr lang="ru-RU"/>
        </a:p>
      </dgm:t>
    </dgm:pt>
    <dgm:pt modelId="{DFBA0DB4-6CF2-4FB3-B675-731F90D2A32B}" type="pres">
      <dgm:prSet presAssocID="{0A379740-68B8-4A23-8355-778D6A315D0A}" presName="hierRoot2" presStyleCnt="0">
        <dgm:presLayoutVars>
          <dgm:hierBranch val="init"/>
        </dgm:presLayoutVars>
      </dgm:prSet>
      <dgm:spPr/>
    </dgm:pt>
    <dgm:pt modelId="{3522ACC7-A714-4C6F-9AE0-2737D7A0566A}" type="pres">
      <dgm:prSet presAssocID="{0A379740-68B8-4A23-8355-778D6A315D0A}" presName="rootComposite" presStyleCnt="0"/>
      <dgm:spPr/>
    </dgm:pt>
    <dgm:pt modelId="{E7E3BD6D-0F72-47BA-AD03-687C22EB31E8}" type="pres">
      <dgm:prSet presAssocID="{0A379740-68B8-4A23-8355-778D6A315D0A}" presName="rootText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7704CB2-CABF-4F4A-952A-DDDFD1C175F8}" type="pres">
      <dgm:prSet presAssocID="{0A379740-68B8-4A23-8355-778D6A315D0A}" presName="rootConnector" presStyleLbl="node2" presStyleIdx="4" presStyleCnt="5"/>
      <dgm:spPr/>
      <dgm:t>
        <a:bodyPr/>
        <a:lstStyle/>
        <a:p>
          <a:endParaRPr lang="ru-RU"/>
        </a:p>
      </dgm:t>
    </dgm:pt>
    <dgm:pt modelId="{F0C5D847-F617-4ED3-AF43-D458B6E8D384}" type="pres">
      <dgm:prSet presAssocID="{0A379740-68B8-4A23-8355-778D6A315D0A}" presName="hierChild4" presStyleCnt="0"/>
      <dgm:spPr/>
    </dgm:pt>
    <dgm:pt modelId="{2CEFD2E0-E227-47ED-8116-194595FBEF51}" type="pres">
      <dgm:prSet presAssocID="{0A379740-68B8-4A23-8355-778D6A315D0A}" presName="hierChild5" presStyleCnt="0"/>
      <dgm:spPr/>
    </dgm:pt>
    <dgm:pt modelId="{A1E944B2-CDF3-4316-B8E5-26C78245DE76}" type="pres">
      <dgm:prSet presAssocID="{CD61D369-6B04-41EC-B9D6-626341258D06}" presName="hierChild3" presStyleCnt="0"/>
      <dgm:spPr/>
    </dgm:pt>
  </dgm:ptLst>
  <dgm:cxnLst>
    <dgm:cxn modelId="{05767F23-7579-4B39-81C0-C7576E5CAEC8}" type="presOf" srcId="{635D01D2-6284-4F25-8E19-D6BC7F0ECC88}" destId="{3700AD47-F26B-4CDB-9479-B129F0ED456E}" srcOrd="0" destOrd="0" presId="urn:microsoft.com/office/officeart/2005/8/layout/orgChart1"/>
    <dgm:cxn modelId="{1ED3D5DA-C937-4B9C-9E66-8C0B4ABDF4F6}" srcId="{0695DFA9-07D9-4B9C-8191-8BAE1E082F7D}" destId="{5BCE70FA-3355-4F29-9CD1-97B07B8292F3}" srcOrd="1" destOrd="0" parTransId="{ADE0AB8B-9AF8-4F17-96D6-4A179160BB6B}" sibTransId="{93334F78-99F2-4685-8B6E-1FEF67ADEF78}"/>
    <dgm:cxn modelId="{BFBB4F07-7950-4842-ABFD-443C5DDCCB87}" type="presOf" srcId="{0695DFA9-07D9-4B9C-8191-8BAE1E082F7D}" destId="{D345E497-355A-4A50-84FF-FF027FA55BCE}" srcOrd="0" destOrd="0" presId="urn:microsoft.com/office/officeart/2005/8/layout/orgChart1"/>
    <dgm:cxn modelId="{0D7F7629-491B-4721-9375-7BBF7C103D41}" type="presOf" srcId="{D6A7C220-6663-448A-A312-68798C17C9D1}" destId="{E6344C67-3DE0-4920-910A-3F7997A8AC03}" srcOrd="1" destOrd="0" presId="urn:microsoft.com/office/officeart/2005/8/layout/orgChart1"/>
    <dgm:cxn modelId="{33247E0D-C67C-43EC-97E8-0C12A6BD0FF9}" type="presOf" srcId="{13DF5346-F94D-455B-840A-AA7B4BE135FF}" destId="{097A56B4-8A69-462A-A9FF-78AF15E23DCA}" srcOrd="0" destOrd="0" presId="urn:microsoft.com/office/officeart/2005/8/layout/orgChart1"/>
    <dgm:cxn modelId="{78879EED-9E29-4FE7-BE55-DC062D5F40AF}" type="presOf" srcId="{E4AD40F1-8586-4574-AEAB-E6637CBE1DFA}" destId="{0CC8BAFE-2B4F-4F38-95B1-A534B719E399}" srcOrd="1" destOrd="0" presId="urn:microsoft.com/office/officeart/2005/8/layout/orgChart1"/>
    <dgm:cxn modelId="{42243D46-5F25-4020-9694-A11D0DCE0A0E}" type="presOf" srcId="{CD61D369-6B04-41EC-B9D6-626341258D06}" destId="{39E49FA8-0A10-4462-A83B-2D75323E0C5F}" srcOrd="1" destOrd="0" presId="urn:microsoft.com/office/officeart/2005/8/layout/orgChart1"/>
    <dgm:cxn modelId="{4049ABBF-CD06-4213-8681-C3AE36B67886}" type="presOf" srcId="{0695DFA9-07D9-4B9C-8191-8BAE1E082F7D}" destId="{11840A4D-9544-4120-A728-EEE0090A72D8}" srcOrd="1" destOrd="0" presId="urn:microsoft.com/office/officeart/2005/8/layout/orgChart1"/>
    <dgm:cxn modelId="{04FA9ED6-3FA4-42F2-9A7C-6F6FE9C9DA2D}" srcId="{CD61D369-6B04-41EC-B9D6-626341258D06}" destId="{933AD73C-4E6A-42BB-9BF4-8044E45BA09D}" srcOrd="1" destOrd="0" parTransId="{9D00AFBD-7033-4DFD-8D09-7236E2BB0746}" sibTransId="{9437F0A0-03F9-493F-AEB3-570E3FE5202F}"/>
    <dgm:cxn modelId="{EF1E173D-46C6-4606-B95C-7C1F99D46BC4}" type="presOf" srcId="{ADE0AB8B-9AF8-4F17-96D6-4A179160BB6B}" destId="{77AC749C-41A7-473C-BC89-5DA269E5C6AC}" srcOrd="0" destOrd="0" presId="urn:microsoft.com/office/officeart/2005/8/layout/orgChart1"/>
    <dgm:cxn modelId="{BACAD1E9-1842-4D6F-A432-299B4574DB87}" type="presOf" srcId="{6757479F-595F-48B3-B71C-49DD8635A758}" destId="{3966AEF8-F5A8-4C59-8915-7C660AA9FEAD}" srcOrd="0" destOrd="0" presId="urn:microsoft.com/office/officeart/2005/8/layout/orgChart1"/>
    <dgm:cxn modelId="{1C73DC77-148B-44BB-9BCB-12F0CE33A7EC}" type="presOf" srcId="{5BCE70FA-3355-4F29-9CD1-97B07B8292F3}" destId="{22A5FF0E-B4DB-4FF5-BCD7-B124A7DAC806}" srcOrd="0" destOrd="0" presId="urn:microsoft.com/office/officeart/2005/8/layout/orgChart1"/>
    <dgm:cxn modelId="{37E716D9-5D67-43D1-AD87-A8E9B1A301C8}" type="presOf" srcId="{3FF82B6C-9F57-4DC7-90F5-D31A4EBB7C8B}" destId="{B049FB78-9DB0-464A-A976-FDF707D47FBB}" srcOrd="0" destOrd="0" presId="urn:microsoft.com/office/officeart/2005/8/layout/orgChart1"/>
    <dgm:cxn modelId="{C4E367A2-0A9B-4DA6-8B94-1E644124936E}" type="presOf" srcId="{E4AD40F1-8586-4574-AEAB-E6637CBE1DFA}" destId="{4EBA6BB7-8573-4B5D-843F-3F9FBAE5A5F4}" srcOrd="0" destOrd="0" presId="urn:microsoft.com/office/officeart/2005/8/layout/orgChart1"/>
    <dgm:cxn modelId="{635E83C0-8E2D-40BA-8A9D-5CBA9C59EA57}" type="presOf" srcId="{D6A7C220-6663-448A-A312-68798C17C9D1}" destId="{D8E45426-6E9E-4E9B-87B5-FFC46F988733}" srcOrd="0" destOrd="0" presId="urn:microsoft.com/office/officeart/2005/8/layout/orgChart1"/>
    <dgm:cxn modelId="{AB5693B1-F138-4FD6-92B0-C40331EEA8E6}" srcId="{CD61D369-6B04-41EC-B9D6-626341258D06}" destId="{FF9A1A68-52F8-46BA-90CF-3540BB9792D2}" srcOrd="0" destOrd="0" parTransId="{6757479F-595F-48B3-B71C-49DD8635A758}" sibTransId="{1A28A2C8-1881-400A-8EBF-ECB6D2852944}"/>
    <dgm:cxn modelId="{A677ADF5-FD08-4BDF-8498-EA7ED07990C0}" type="presOf" srcId="{0A379740-68B8-4A23-8355-778D6A315D0A}" destId="{07704CB2-CABF-4F4A-952A-DDDFD1C175F8}" srcOrd="1" destOrd="0" presId="urn:microsoft.com/office/officeart/2005/8/layout/orgChart1"/>
    <dgm:cxn modelId="{768CEFB7-42BA-4FBF-801A-F27B566DE7A5}" type="presOf" srcId="{AD0F54D7-88A3-4E4E-846C-66F75E785E93}" destId="{2BFE200C-4FEE-463B-AD72-9BB5CF4CC089}" srcOrd="1" destOrd="0" presId="urn:microsoft.com/office/officeart/2005/8/layout/orgChart1"/>
    <dgm:cxn modelId="{9CADC3E9-C912-4D19-B7EA-873D82F57DA7}" type="presOf" srcId="{AD0F54D7-88A3-4E4E-846C-66F75E785E93}" destId="{E5EB745B-D011-4A26-860F-75D3D3412E8F}" srcOrd="0" destOrd="0" presId="urn:microsoft.com/office/officeart/2005/8/layout/orgChart1"/>
    <dgm:cxn modelId="{71AB5B69-BF52-4A81-BEEB-CBF579214906}" type="presOf" srcId="{FF9A1A68-52F8-46BA-90CF-3540BB9792D2}" destId="{5C5136FE-E7D5-4A87-A843-CA1760D88FE6}" srcOrd="1" destOrd="0" presId="urn:microsoft.com/office/officeart/2005/8/layout/orgChart1"/>
    <dgm:cxn modelId="{3C971B1E-16F4-476E-9F75-4176FF485131}" srcId="{CD61D369-6B04-41EC-B9D6-626341258D06}" destId="{0A379740-68B8-4A23-8355-778D6A315D0A}" srcOrd="4" destOrd="0" parTransId="{A7E7B766-5331-4CD3-9B78-CD8DC71514F7}" sibTransId="{E88F22E0-04B4-4363-95F1-BD0B333789AB}"/>
    <dgm:cxn modelId="{F6D1FF22-260F-408A-827A-DEF33BFF5A7D}" type="presOf" srcId="{9D00AFBD-7033-4DFD-8D09-7236E2BB0746}" destId="{FA8ED15B-905C-48BE-BD03-B37F4EBD7739}" srcOrd="0" destOrd="0" presId="urn:microsoft.com/office/officeart/2005/8/layout/orgChart1"/>
    <dgm:cxn modelId="{B182D41C-2C0F-48ED-9E26-BAA204AE19D6}" srcId="{0695DFA9-07D9-4B9C-8191-8BAE1E082F7D}" destId="{277AA7E4-4CA5-4F76-B520-C8F4A1AFABAE}" srcOrd="2" destOrd="0" parTransId="{13DF5346-F94D-455B-840A-AA7B4BE135FF}" sibTransId="{CE6F23C0-701E-4212-A5D4-58A45AC881F2}"/>
    <dgm:cxn modelId="{99AEA72D-BC1D-44EC-A2F0-548302A889CD}" type="presOf" srcId="{933AD73C-4E6A-42BB-9BF4-8044E45BA09D}" destId="{DCB38D73-7A11-4AC7-8446-DA3DCC7560EC}" srcOrd="0" destOrd="0" presId="urn:microsoft.com/office/officeart/2005/8/layout/orgChart1"/>
    <dgm:cxn modelId="{1307E582-CA71-465A-8069-01C1747339BD}" type="presOf" srcId="{0A379740-68B8-4A23-8355-778D6A315D0A}" destId="{E7E3BD6D-0F72-47BA-AD03-687C22EB31E8}" srcOrd="0" destOrd="0" presId="urn:microsoft.com/office/officeart/2005/8/layout/orgChart1"/>
    <dgm:cxn modelId="{2B1FA8F0-6D09-4822-BA03-0BA7FCF96036}" type="presOf" srcId="{277AA7E4-4CA5-4F76-B520-C8F4A1AFABAE}" destId="{C3838851-E40A-4FFB-8488-CEBFA38CC683}" srcOrd="0" destOrd="0" presId="urn:microsoft.com/office/officeart/2005/8/layout/orgChart1"/>
    <dgm:cxn modelId="{40495F66-A121-4A77-8D4B-4BB6A570665B}" type="presOf" srcId="{CD61D369-6B04-41EC-B9D6-626341258D06}" destId="{36B4CD43-2BD7-4FA9-B02A-52C2F1FED79B}" srcOrd="0" destOrd="0" presId="urn:microsoft.com/office/officeart/2005/8/layout/orgChart1"/>
    <dgm:cxn modelId="{C4B9BF8C-70E3-4BCC-852C-645B266665FB}" srcId="{0695DFA9-07D9-4B9C-8191-8BAE1E082F7D}" destId="{AD0F54D7-88A3-4E4E-846C-66F75E785E93}" srcOrd="0" destOrd="0" parTransId="{3EDAE80C-7392-4EFC-8CCE-3BD7D13592D7}" sibTransId="{2C45A379-529C-4224-BEB5-08CD00AA2EE9}"/>
    <dgm:cxn modelId="{36691440-59E9-4FDF-B1D3-46745CD1D3CD}" type="presOf" srcId="{933AD73C-4E6A-42BB-9BF4-8044E45BA09D}" destId="{0B9B9C37-2BD9-43AA-8249-54BD4D581A3F}" srcOrd="1" destOrd="0" presId="urn:microsoft.com/office/officeart/2005/8/layout/orgChart1"/>
    <dgm:cxn modelId="{FA3A09A9-FEDB-4FCB-8F0E-DFC389004D26}" type="presOf" srcId="{277AA7E4-4CA5-4F76-B520-C8F4A1AFABAE}" destId="{7922530D-EF39-47F0-B40D-214618369C8F}" srcOrd="1" destOrd="0" presId="urn:microsoft.com/office/officeart/2005/8/layout/orgChart1"/>
    <dgm:cxn modelId="{29AA9336-2919-4278-BD5D-4B57EC6CE3BF}" type="presOf" srcId="{FF9A1A68-52F8-46BA-90CF-3540BB9792D2}" destId="{6399792F-A596-4308-96E1-CC43975FC15C}" srcOrd="0" destOrd="0" presId="urn:microsoft.com/office/officeart/2005/8/layout/orgChart1"/>
    <dgm:cxn modelId="{FFC02627-6D43-42C0-9220-043062E9D087}" srcId="{CD61D369-6B04-41EC-B9D6-626341258D06}" destId="{D6A7C220-6663-448A-A312-68798C17C9D1}" srcOrd="2" destOrd="0" parTransId="{635D01D2-6284-4F25-8E19-D6BC7F0ECC88}" sibTransId="{0DA0150C-60DD-4B6C-BFF3-BBBE509F820A}"/>
    <dgm:cxn modelId="{9B49914E-DAC0-414E-87DD-A99371CFD91E}" type="presOf" srcId="{3EDAE80C-7392-4EFC-8CCE-3BD7D13592D7}" destId="{FEAFD93B-5AD0-4DCF-B8B4-22D7FDADC742}" srcOrd="0" destOrd="0" presId="urn:microsoft.com/office/officeart/2005/8/layout/orgChart1"/>
    <dgm:cxn modelId="{1ED4BFEB-51D2-4037-BA8F-D3453FDE74AE}" type="presOf" srcId="{0FF2AFBB-B354-4BB6-B5BC-D2F1552BE80F}" destId="{1B84CDAF-B325-4BB8-9E1F-857BFB5F2807}" srcOrd="0" destOrd="0" presId="urn:microsoft.com/office/officeart/2005/8/layout/orgChart1"/>
    <dgm:cxn modelId="{C70BB936-B8F3-4B79-ADE9-7E5F2A3DF2A3}" type="presOf" srcId="{1E6FCF70-3521-40CE-B4DC-B331C68BC2BB}" destId="{589185AB-A836-4B5D-A1D4-1F14ED438778}" srcOrd="0" destOrd="0" presId="urn:microsoft.com/office/officeart/2005/8/layout/orgChart1"/>
    <dgm:cxn modelId="{37BA9958-D7EF-4D67-BB99-225B4761ED83}" srcId="{3FF82B6C-9F57-4DC7-90F5-D31A4EBB7C8B}" destId="{CD61D369-6B04-41EC-B9D6-626341258D06}" srcOrd="0" destOrd="0" parTransId="{881C1363-6E45-4A4E-95E9-E144204829E5}" sibTransId="{9FEC040B-BA74-44F3-9EF1-BF492B75FBE0}"/>
    <dgm:cxn modelId="{85EC0E13-C743-4E87-8739-734461AF5198}" srcId="{CD61D369-6B04-41EC-B9D6-626341258D06}" destId="{E4AD40F1-8586-4574-AEAB-E6637CBE1DFA}" srcOrd="3" destOrd="0" parTransId="{1E6FCF70-3521-40CE-B4DC-B331C68BC2BB}" sibTransId="{0E97C3D6-16C4-4E49-A767-0106B9CAD5C2}"/>
    <dgm:cxn modelId="{62627177-D673-4A78-A80D-6141C982B3D5}" srcId="{E4AD40F1-8586-4574-AEAB-E6637CBE1DFA}" destId="{0695DFA9-07D9-4B9C-8191-8BAE1E082F7D}" srcOrd="0" destOrd="0" parTransId="{0FF2AFBB-B354-4BB6-B5BC-D2F1552BE80F}" sibTransId="{EE0136F7-339B-47DE-AFEB-B3C51987DF47}"/>
    <dgm:cxn modelId="{3EDADE49-503A-4AE8-86F6-CF99898DEEA4}" type="presOf" srcId="{5BCE70FA-3355-4F29-9CD1-97B07B8292F3}" destId="{947B3236-8B6E-4549-AD29-4ED5D022C3AF}" srcOrd="1" destOrd="0" presId="urn:microsoft.com/office/officeart/2005/8/layout/orgChart1"/>
    <dgm:cxn modelId="{F19282DF-EC54-4149-BDD9-455AE48E6A83}" type="presOf" srcId="{A7E7B766-5331-4CD3-9B78-CD8DC71514F7}" destId="{28BF8A18-A4A0-408D-B2CF-1DF0438D41DC}" srcOrd="0" destOrd="0" presId="urn:microsoft.com/office/officeart/2005/8/layout/orgChart1"/>
    <dgm:cxn modelId="{CF74EF1C-D3B2-46D4-8B7D-414A09431849}" type="presParOf" srcId="{B049FB78-9DB0-464A-A976-FDF707D47FBB}" destId="{F0E42653-DB83-440B-8FE7-43B8DCD0D308}" srcOrd="0" destOrd="0" presId="urn:microsoft.com/office/officeart/2005/8/layout/orgChart1"/>
    <dgm:cxn modelId="{62B31CB4-2BE4-4EDC-8654-A57BEC08F5D7}" type="presParOf" srcId="{F0E42653-DB83-440B-8FE7-43B8DCD0D308}" destId="{005DD6AC-FF8D-4CDF-B1E5-C15556A3A179}" srcOrd="0" destOrd="0" presId="urn:microsoft.com/office/officeart/2005/8/layout/orgChart1"/>
    <dgm:cxn modelId="{84E758D4-2DD8-48DE-ABEC-5B330C267787}" type="presParOf" srcId="{005DD6AC-FF8D-4CDF-B1E5-C15556A3A179}" destId="{36B4CD43-2BD7-4FA9-B02A-52C2F1FED79B}" srcOrd="0" destOrd="0" presId="urn:microsoft.com/office/officeart/2005/8/layout/orgChart1"/>
    <dgm:cxn modelId="{4EE16DCB-97BB-470B-925A-99D9299F4131}" type="presParOf" srcId="{005DD6AC-FF8D-4CDF-B1E5-C15556A3A179}" destId="{39E49FA8-0A10-4462-A83B-2D75323E0C5F}" srcOrd="1" destOrd="0" presId="urn:microsoft.com/office/officeart/2005/8/layout/orgChart1"/>
    <dgm:cxn modelId="{9EC416F3-64AA-48D3-8499-DE797B0E95F8}" type="presParOf" srcId="{F0E42653-DB83-440B-8FE7-43B8DCD0D308}" destId="{4C70364E-6A77-45B2-81F0-C1FBEE45B93D}" srcOrd="1" destOrd="0" presId="urn:microsoft.com/office/officeart/2005/8/layout/orgChart1"/>
    <dgm:cxn modelId="{E33E09CA-0FB3-4522-BD9C-A1F17A705A12}" type="presParOf" srcId="{4C70364E-6A77-45B2-81F0-C1FBEE45B93D}" destId="{3966AEF8-F5A8-4C59-8915-7C660AA9FEAD}" srcOrd="0" destOrd="0" presId="urn:microsoft.com/office/officeart/2005/8/layout/orgChart1"/>
    <dgm:cxn modelId="{25B120F1-9689-4AD4-ACAF-418EB19CE182}" type="presParOf" srcId="{4C70364E-6A77-45B2-81F0-C1FBEE45B93D}" destId="{80E3DAAF-7F65-442A-BDC3-F6DEFE13091C}" srcOrd="1" destOrd="0" presId="urn:microsoft.com/office/officeart/2005/8/layout/orgChart1"/>
    <dgm:cxn modelId="{0D3E1723-BD8F-4AC7-A319-1E2FE3C0E4F6}" type="presParOf" srcId="{80E3DAAF-7F65-442A-BDC3-F6DEFE13091C}" destId="{6F300503-FD51-4920-B70D-F79921534AB5}" srcOrd="0" destOrd="0" presId="urn:microsoft.com/office/officeart/2005/8/layout/orgChart1"/>
    <dgm:cxn modelId="{09F1D400-1B7D-43A0-BD93-4D7C200151B7}" type="presParOf" srcId="{6F300503-FD51-4920-B70D-F79921534AB5}" destId="{6399792F-A596-4308-96E1-CC43975FC15C}" srcOrd="0" destOrd="0" presId="urn:microsoft.com/office/officeart/2005/8/layout/orgChart1"/>
    <dgm:cxn modelId="{A037D3BA-8306-401B-ADF8-6F14BEC06924}" type="presParOf" srcId="{6F300503-FD51-4920-B70D-F79921534AB5}" destId="{5C5136FE-E7D5-4A87-A843-CA1760D88FE6}" srcOrd="1" destOrd="0" presId="urn:microsoft.com/office/officeart/2005/8/layout/orgChart1"/>
    <dgm:cxn modelId="{1FE8E140-C3E6-4EB1-9E70-A3BE16EAD3F7}" type="presParOf" srcId="{80E3DAAF-7F65-442A-BDC3-F6DEFE13091C}" destId="{D4B888DE-5901-46A0-B5C3-0E2805941186}" srcOrd="1" destOrd="0" presId="urn:microsoft.com/office/officeart/2005/8/layout/orgChart1"/>
    <dgm:cxn modelId="{ABDD04B5-4262-45F0-80FC-8FD1B99C4F7E}" type="presParOf" srcId="{80E3DAAF-7F65-442A-BDC3-F6DEFE13091C}" destId="{D4B086A7-35D3-4A2D-898C-C03180131CBA}" srcOrd="2" destOrd="0" presId="urn:microsoft.com/office/officeart/2005/8/layout/orgChart1"/>
    <dgm:cxn modelId="{6406A33C-5168-4CB0-B077-BA117210012E}" type="presParOf" srcId="{4C70364E-6A77-45B2-81F0-C1FBEE45B93D}" destId="{FA8ED15B-905C-48BE-BD03-B37F4EBD7739}" srcOrd="2" destOrd="0" presId="urn:microsoft.com/office/officeart/2005/8/layout/orgChart1"/>
    <dgm:cxn modelId="{C0C7B9B6-CC28-4D1B-A38D-1060DF9E872C}" type="presParOf" srcId="{4C70364E-6A77-45B2-81F0-C1FBEE45B93D}" destId="{2EB0AE9C-2AAB-4EEF-96BC-664C6FEA2276}" srcOrd="3" destOrd="0" presId="urn:microsoft.com/office/officeart/2005/8/layout/orgChart1"/>
    <dgm:cxn modelId="{4870A0E1-5103-460C-A308-F3A7DF6D2906}" type="presParOf" srcId="{2EB0AE9C-2AAB-4EEF-96BC-664C6FEA2276}" destId="{B03E0A89-638F-4D6C-915A-7B52D05AC681}" srcOrd="0" destOrd="0" presId="urn:microsoft.com/office/officeart/2005/8/layout/orgChart1"/>
    <dgm:cxn modelId="{2651B55F-EC23-4DF6-B39B-4D1D5C6FDD59}" type="presParOf" srcId="{B03E0A89-638F-4D6C-915A-7B52D05AC681}" destId="{DCB38D73-7A11-4AC7-8446-DA3DCC7560EC}" srcOrd="0" destOrd="0" presId="urn:microsoft.com/office/officeart/2005/8/layout/orgChart1"/>
    <dgm:cxn modelId="{07CE6972-1BC4-4FAC-935E-B8DA17BF8E11}" type="presParOf" srcId="{B03E0A89-638F-4D6C-915A-7B52D05AC681}" destId="{0B9B9C37-2BD9-43AA-8249-54BD4D581A3F}" srcOrd="1" destOrd="0" presId="urn:microsoft.com/office/officeart/2005/8/layout/orgChart1"/>
    <dgm:cxn modelId="{8F76A0D5-16CF-447B-B7E2-F3B173A70217}" type="presParOf" srcId="{2EB0AE9C-2AAB-4EEF-96BC-664C6FEA2276}" destId="{5A063D67-AF88-4620-AB96-89706F53CB2B}" srcOrd="1" destOrd="0" presId="urn:microsoft.com/office/officeart/2005/8/layout/orgChart1"/>
    <dgm:cxn modelId="{28600039-6184-459B-8DC8-C4448EACF85E}" type="presParOf" srcId="{2EB0AE9C-2AAB-4EEF-96BC-664C6FEA2276}" destId="{B7C3CB78-134C-4588-9EC3-046602F8A8CE}" srcOrd="2" destOrd="0" presId="urn:microsoft.com/office/officeart/2005/8/layout/orgChart1"/>
    <dgm:cxn modelId="{BEA103A5-AA1E-413F-8596-C2B1DF40BD63}" type="presParOf" srcId="{4C70364E-6A77-45B2-81F0-C1FBEE45B93D}" destId="{3700AD47-F26B-4CDB-9479-B129F0ED456E}" srcOrd="4" destOrd="0" presId="urn:microsoft.com/office/officeart/2005/8/layout/orgChart1"/>
    <dgm:cxn modelId="{C85040FB-AA8B-4FDE-B2B7-8740DA0062BD}" type="presParOf" srcId="{4C70364E-6A77-45B2-81F0-C1FBEE45B93D}" destId="{9DF09194-1B4C-451E-B8A0-D27FDDCCBED3}" srcOrd="5" destOrd="0" presId="urn:microsoft.com/office/officeart/2005/8/layout/orgChart1"/>
    <dgm:cxn modelId="{9CDF59A7-373D-4E1E-BFDB-FCE856832A48}" type="presParOf" srcId="{9DF09194-1B4C-451E-B8A0-D27FDDCCBED3}" destId="{CD3DD52D-8B13-4DF2-8EF8-B73EFD6DA85B}" srcOrd="0" destOrd="0" presId="urn:microsoft.com/office/officeart/2005/8/layout/orgChart1"/>
    <dgm:cxn modelId="{8CD74CB2-AE59-492B-A52B-BE9E18A284BA}" type="presParOf" srcId="{CD3DD52D-8B13-4DF2-8EF8-B73EFD6DA85B}" destId="{D8E45426-6E9E-4E9B-87B5-FFC46F988733}" srcOrd="0" destOrd="0" presId="urn:microsoft.com/office/officeart/2005/8/layout/orgChart1"/>
    <dgm:cxn modelId="{2F3F61E0-9BC3-497C-A03E-B77FFCA46842}" type="presParOf" srcId="{CD3DD52D-8B13-4DF2-8EF8-B73EFD6DA85B}" destId="{E6344C67-3DE0-4920-910A-3F7997A8AC03}" srcOrd="1" destOrd="0" presId="urn:microsoft.com/office/officeart/2005/8/layout/orgChart1"/>
    <dgm:cxn modelId="{F121009B-0A73-4010-97D8-31B0D089B2E8}" type="presParOf" srcId="{9DF09194-1B4C-451E-B8A0-D27FDDCCBED3}" destId="{CE7B6A9C-8C8D-4A81-894F-CEA996EE5207}" srcOrd="1" destOrd="0" presId="urn:microsoft.com/office/officeart/2005/8/layout/orgChart1"/>
    <dgm:cxn modelId="{D18F6940-9057-4F08-975A-4CB328B77DF7}" type="presParOf" srcId="{9DF09194-1B4C-451E-B8A0-D27FDDCCBED3}" destId="{7D61313A-0739-412A-AC9A-2CFBE31FCDD5}" srcOrd="2" destOrd="0" presId="urn:microsoft.com/office/officeart/2005/8/layout/orgChart1"/>
    <dgm:cxn modelId="{29488B9D-2D99-4EEE-A322-5FCC9FA127E4}" type="presParOf" srcId="{4C70364E-6A77-45B2-81F0-C1FBEE45B93D}" destId="{589185AB-A836-4B5D-A1D4-1F14ED438778}" srcOrd="6" destOrd="0" presId="urn:microsoft.com/office/officeart/2005/8/layout/orgChart1"/>
    <dgm:cxn modelId="{0270AC6D-C6C9-4ECD-B6F8-A8D9C77DC444}" type="presParOf" srcId="{4C70364E-6A77-45B2-81F0-C1FBEE45B93D}" destId="{09468309-7CBB-4F3A-BA54-28CFD3E71ACA}" srcOrd="7" destOrd="0" presId="urn:microsoft.com/office/officeart/2005/8/layout/orgChart1"/>
    <dgm:cxn modelId="{9DE12246-CDA9-49C3-8298-EA242E01099B}" type="presParOf" srcId="{09468309-7CBB-4F3A-BA54-28CFD3E71ACA}" destId="{961ACA0F-F7AA-4F69-A3FC-D86391D7BF68}" srcOrd="0" destOrd="0" presId="urn:microsoft.com/office/officeart/2005/8/layout/orgChart1"/>
    <dgm:cxn modelId="{D2DC95BC-508B-4DC3-96BA-DECEDFB71D93}" type="presParOf" srcId="{961ACA0F-F7AA-4F69-A3FC-D86391D7BF68}" destId="{4EBA6BB7-8573-4B5D-843F-3F9FBAE5A5F4}" srcOrd="0" destOrd="0" presId="urn:microsoft.com/office/officeart/2005/8/layout/orgChart1"/>
    <dgm:cxn modelId="{535AEACF-B705-4419-91A4-F401349A2FFC}" type="presParOf" srcId="{961ACA0F-F7AA-4F69-A3FC-D86391D7BF68}" destId="{0CC8BAFE-2B4F-4F38-95B1-A534B719E399}" srcOrd="1" destOrd="0" presId="urn:microsoft.com/office/officeart/2005/8/layout/orgChart1"/>
    <dgm:cxn modelId="{E6E57548-6125-4545-A8F2-076DE4C4A92B}" type="presParOf" srcId="{09468309-7CBB-4F3A-BA54-28CFD3E71ACA}" destId="{39A08037-4740-45F2-8752-AFD6B49D922B}" srcOrd="1" destOrd="0" presId="urn:microsoft.com/office/officeart/2005/8/layout/orgChart1"/>
    <dgm:cxn modelId="{0BE8883F-C26C-43FF-AAFA-918A02FC3169}" type="presParOf" srcId="{39A08037-4740-45F2-8752-AFD6B49D922B}" destId="{1B84CDAF-B325-4BB8-9E1F-857BFB5F2807}" srcOrd="0" destOrd="0" presId="urn:microsoft.com/office/officeart/2005/8/layout/orgChart1"/>
    <dgm:cxn modelId="{5A1FBBA4-CF09-447D-A5C5-D5C7865102C1}" type="presParOf" srcId="{39A08037-4740-45F2-8752-AFD6B49D922B}" destId="{AC4F0A37-BA5D-4540-8D20-19D67BCA7EF3}" srcOrd="1" destOrd="0" presId="urn:microsoft.com/office/officeart/2005/8/layout/orgChart1"/>
    <dgm:cxn modelId="{A5552700-F60D-4867-8F59-A3DE7D884025}" type="presParOf" srcId="{AC4F0A37-BA5D-4540-8D20-19D67BCA7EF3}" destId="{69634F44-C27A-4E75-8D75-656A9A32D37F}" srcOrd="0" destOrd="0" presId="urn:microsoft.com/office/officeart/2005/8/layout/orgChart1"/>
    <dgm:cxn modelId="{5AE918D8-1E29-49E7-ACF6-F9DE3A6F4465}" type="presParOf" srcId="{69634F44-C27A-4E75-8D75-656A9A32D37F}" destId="{D345E497-355A-4A50-84FF-FF027FA55BCE}" srcOrd="0" destOrd="0" presId="urn:microsoft.com/office/officeart/2005/8/layout/orgChart1"/>
    <dgm:cxn modelId="{D301023F-A329-4369-B5EA-E057404D6625}" type="presParOf" srcId="{69634F44-C27A-4E75-8D75-656A9A32D37F}" destId="{11840A4D-9544-4120-A728-EEE0090A72D8}" srcOrd="1" destOrd="0" presId="urn:microsoft.com/office/officeart/2005/8/layout/orgChart1"/>
    <dgm:cxn modelId="{D039021C-FE7C-45CD-B570-B1CA03F1E805}" type="presParOf" srcId="{AC4F0A37-BA5D-4540-8D20-19D67BCA7EF3}" destId="{7194D9B9-659E-465D-9D33-390C87F8C898}" srcOrd="1" destOrd="0" presId="urn:microsoft.com/office/officeart/2005/8/layout/orgChart1"/>
    <dgm:cxn modelId="{F1CC8474-0DF8-4073-910F-53AA001BB03E}" type="presParOf" srcId="{7194D9B9-659E-465D-9D33-390C87F8C898}" destId="{FEAFD93B-5AD0-4DCF-B8B4-22D7FDADC742}" srcOrd="0" destOrd="0" presId="urn:microsoft.com/office/officeart/2005/8/layout/orgChart1"/>
    <dgm:cxn modelId="{20D30B8F-CD00-405C-B0F3-5189C81732BA}" type="presParOf" srcId="{7194D9B9-659E-465D-9D33-390C87F8C898}" destId="{1933B472-F3D2-4BDB-BA44-DB2089289CED}" srcOrd="1" destOrd="0" presId="urn:microsoft.com/office/officeart/2005/8/layout/orgChart1"/>
    <dgm:cxn modelId="{829BB199-ACB7-43EF-B495-43781CFDF5C2}" type="presParOf" srcId="{1933B472-F3D2-4BDB-BA44-DB2089289CED}" destId="{FBF55A8C-AD4A-4DA6-83F6-7FFDBFEFA010}" srcOrd="0" destOrd="0" presId="urn:microsoft.com/office/officeart/2005/8/layout/orgChart1"/>
    <dgm:cxn modelId="{BB1B93E9-C411-422A-8D0E-F634F0D555D9}" type="presParOf" srcId="{FBF55A8C-AD4A-4DA6-83F6-7FFDBFEFA010}" destId="{E5EB745B-D011-4A26-860F-75D3D3412E8F}" srcOrd="0" destOrd="0" presId="urn:microsoft.com/office/officeart/2005/8/layout/orgChart1"/>
    <dgm:cxn modelId="{AC64C682-30C9-4632-AC47-6280129F2703}" type="presParOf" srcId="{FBF55A8C-AD4A-4DA6-83F6-7FFDBFEFA010}" destId="{2BFE200C-4FEE-463B-AD72-9BB5CF4CC089}" srcOrd="1" destOrd="0" presId="urn:microsoft.com/office/officeart/2005/8/layout/orgChart1"/>
    <dgm:cxn modelId="{19170637-E876-4E7B-B58C-068A4A01A78B}" type="presParOf" srcId="{1933B472-F3D2-4BDB-BA44-DB2089289CED}" destId="{7BA379A1-8BAF-4BB1-8875-99A74EF5CAAD}" srcOrd="1" destOrd="0" presId="urn:microsoft.com/office/officeart/2005/8/layout/orgChart1"/>
    <dgm:cxn modelId="{93271663-9E16-448F-B5CA-313C19D132D3}" type="presParOf" srcId="{1933B472-F3D2-4BDB-BA44-DB2089289CED}" destId="{786159AF-B4CB-4C8E-A322-64306265F9CF}" srcOrd="2" destOrd="0" presId="urn:microsoft.com/office/officeart/2005/8/layout/orgChart1"/>
    <dgm:cxn modelId="{F5F45771-D71F-44D6-A3FD-5B118DAACEE7}" type="presParOf" srcId="{7194D9B9-659E-465D-9D33-390C87F8C898}" destId="{77AC749C-41A7-473C-BC89-5DA269E5C6AC}" srcOrd="2" destOrd="0" presId="urn:microsoft.com/office/officeart/2005/8/layout/orgChart1"/>
    <dgm:cxn modelId="{CDBB96D1-9638-435E-BBAB-BA1FAAF35593}" type="presParOf" srcId="{7194D9B9-659E-465D-9D33-390C87F8C898}" destId="{57769B30-50F9-4AB3-B064-D31ADB5FE3F0}" srcOrd="3" destOrd="0" presId="urn:microsoft.com/office/officeart/2005/8/layout/orgChart1"/>
    <dgm:cxn modelId="{B95A856E-8189-4951-983F-208E01369931}" type="presParOf" srcId="{57769B30-50F9-4AB3-B064-D31ADB5FE3F0}" destId="{123C77A0-FB23-477B-ABF7-F4734E9BB15F}" srcOrd="0" destOrd="0" presId="urn:microsoft.com/office/officeart/2005/8/layout/orgChart1"/>
    <dgm:cxn modelId="{B77F43BD-AC3E-483A-B952-255B30C70680}" type="presParOf" srcId="{123C77A0-FB23-477B-ABF7-F4734E9BB15F}" destId="{22A5FF0E-B4DB-4FF5-BCD7-B124A7DAC806}" srcOrd="0" destOrd="0" presId="urn:microsoft.com/office/officeart/2005/8/layout/orgChart1"/>
    <dgm:cxn modelId="{67D60E1C-E9F1-49CE-B2D7-9C1632C3C0D1}" type="presParOf" srcId="{123C77A0-FB23-477B-ABF7-F4734E9BB15F}" destId="{947B3236-8B6E-4549-AD29-4ED5D022C3AF}" srcOrd="1" destOrd="0" presId="urn:microsoft.com/office/officeart/2005/8/layout/orgChart1"/>
    <dgm:cxn modelId="{8F6FCCD4-7524-41E6-825D-D98DB0D43891}" type="presParOf" srcId="{57769B30-50F9-4AB3-B064-D31ADB5FE3F0}" destId="{0F1E7061-B13A-4F0F-AA5E-94CF6F7F705F}" srcOrd="1" destOrd="0" presId="urn:microsoft.com/office/officeart/2005/8/layout/orgChart1"/>
    <dgm:cxn modelId="{93FD5969-F21C-4EC7-8225-1F2EF9F0F101}" type="presParOf" srcId="{57769B30-50F9-4AB3-B064-D31ADB5FE3F0}" destId="{C9F75201-1635-4930-86BB-16A7ED1AE9FA}" srcOrd="2" destOrd="0" presId="urn:microsoft.com/office/officeart/2005/8/layout/orgChart1"/>
    <dgm:cxn modelId="{030E9F90-406D-4C29-A003-D0E945580694}" type="presParOf" srcId="{7194D9B9-659E-465D-9D33-390C87F8C898}" destId="{097A56B4-8A69-462A-A9FF-78AF15E23DCA}" srcOrd="4" destOrd="0" presId="urn:microsoft.com/office/officeart/2005/8/layout/orgChart1"/>
    <dgm:cxn modelId="{44058050-6A6C-48A8-8278-B2EB148695B5}" type="presParOf" srcId="{7194D9B9-659E-465D-9D33-390C87F8C898}" destId="{01C50897-4484-4136-85CE-42D6CF81ACBE}" srcOrd="5" destOrd="0" presId="urn:microsoft.com/office/officeart/2005/8/layout/orgChart1"/>
    <dgm:cxn modelId="{EB804846-B58F-4223-A5AE-42BB769E0600}" type="presParOf" srcId="{01C50897-4484-4136-85CE-42D6CF81ACBE}" destId="{2A02BB06-1586-49F5-98EA-2317376BF512}" srcOrd="0" destOrd="0" presId="urn:microsoft.com/office/officeart/2005/8/layout/orgChart1"/>
    <dgm:cxn modelId="{212634AE-65C3-4D03-944A-77FC5F8B82ED}" type="presParOf" srcId="{2A02BB06-1586-49F5-98EA-2317376BF512}" destId="{C3838851-E40A-4FFB-8488-CEBFA38CC683}" srcOrd="0" destOrd="0" presId="urn:microsoft.com/office/officeart/2005/8/layout/orgChart1"/>
    <dgm:cxn modelId="{10883F04-A3A4-4D83-BEFC-4AA8BA14B2C7}" type="presParOf" srcId="{2A02BB06-1586-49F5-98EA-2317376BF512}" destId="{7922530D-EF39-47F0-B40D-214618369C8F}" srcOrd="1" destOrd="0" presId="urn:microsoft.com/office/officeart/2005/8/layout/orgChart1"/>
    <dgm:cxn modelId="{9D51754E-4212-4000-967F-E43631FC844B}" type="presParOf" srcId="{01C50897-4484-4136-85CE-42D6CF81ACBE}" destId="{07A97172-8AC1-4BCF-8D0A-B0D79736608A}" srcOrd="1" destOrd="0" presId="urn:microsoft.com/office/officeart/2005/8/layout/orgChart1"/>
    <dgm:cxn modelId="{56D47DEA-B157-45E2-A0D3-0A2238197A24}" type="presParOf" srcId="{01C50897-4484-4136-85CE-42D6CF81ACBE}" destId="{7CDD8743-0CC2-48A0-8D9D-BDE36C24804F}" srcOrd="2" destOrd="0" presId="urn:microsoft.com/office/officeart/2005/8/layout/orgChart1"/>
    <dgm:cxn modelId="{F7F115FB-938F-4A77-8778-2949045467A1}" type="presParOf" srcId="{AC4F0A37-BA5D-4540-8D20-19D67BCA7EF3}" destId="{A54B0CD8-1A0B-40B3-B852-24201633085D}" srcOrd="2" destOrd="0" presId="urn:microsoft.com/office/officeart/2005/8/layout/orgChart1"/>
    <dgm:cxn modelId="{C21BD79D-BAF4-489F-9E94-424299A6BBCC}" type="presParOf" srcId="{09468309-7CBB-4F3A-BA54-28CFD3E71ACA}" destId="{78D0784D-69E1-47A6-A05E-9898D13C6CE8}" srcOrd="2" destOrd="0" presId="urn:microsoft.com/office/officeart/2005/8/layout/orgChart1"/>
    <dgm:cxn modelId="{922A8B11-6EE3-484F-9584-CA427FEDCFC1}" type="presParOf" srcId="{4C70364E-6A77-45B2-81F0-C1FBEE45B93D}" destId="{28BF8A18-A4A0-408D-B2CF-1DF0438D41DC}" srcOrd="8" destOrd="0" presId="urn:microsoft.com/office/officeart/2005/8/layout/orgChart1"/>
    <dgm:cxn modelId="{66E60828-6A3F-4AA0-90C2-C49F7087BB6E}" type="presParOf" srcId="{4C70364E-6A77-45B2-81F0-C1FBEE45B93D}" destId="{DFBA0DB4-6CF2-4FB3-B675-731F90D2A32B}" srcOrd="9" destOrd="0" presId="urn:microsoft.com/office/officeart/2005/8/layout/orgChart1"/>
    <dgm:cxn modelId="{D498949F-CD0C-4F86-A0A1-AF2E4B413C51}" type="presParOf" srcId="{DFBA0DB4-6CF2-4FB3-B675-731F90D2A32B}" destId="{3522ACC7-A714-4C6F-9AE0-2737D7A0566A}" srcOrd="0" destOrd="0" presId="urn:microsoft.com/office/officeart/2005/8/layout/orgChart1"/>
    <dgm:cxn modelId="{B480027B-41F1-4A6C-97A0-6B38D20104ED}" type="presParOf" srcId="{3522ACC7-A714-4C6F-9AE0-2737D7A0566A}" destId="{E7E3BD6D-0F72-47BA-AD03-687C22EB31E8}" srcOrd="0" destOrd="0" presId="urn:microsoft.com/office/officeart/2005/8/layout/orgChart1"/>
    <dgm:cxn modelId="{8385C466-A680-44EF-ABE6-B4F614C93B7A}" type="presParOf" srcId="{3522ACC7-A714-4C6F-9AE0-2737D7A0566A}" destId="{07704CB2-CABF-4F4A-952A-DDDFD1C175F8}" srcOrd="1" destOrd="0" presId="urn:microsoft.com/office/officeart/2005/8/layout/orgChart1"/>
    <dgm:cxn modelId="{5E491B3B-B5B3-4862-9987-7888A70A7B7F}" type="presParOf" srcId="{DFBA0DB4-6CF2-4FB3-B675-731F90D2A32B}" destId="{F0C5D847-F617-4ED3-AF43-D458B6E8D384}" srcOrd="1" destOrd="0" presId="urn:microsoft.com/office/officeart/2005/8/layout/orgChart1"/>
    <dgm:cxn modelId="{CD899415-7A9E-4F3D-8ECA-4E9CF9A10D2E}" type="presParOf" srcId="{DFBA0DB4-6CF2-4FB3-B675-731F90D2A32B}" destId="{2CEFD2E0-E227-47ED-8116-194595FBEF51}" srcOrd="2" destOrd="0" presId="urn:microsoft.com/office/officeart/2005/8/layout/orgChart1"/>
    <dgm:cxn modelId="{FA0B014A-AF88-4115-9256-5560607D06D3}" type="presParOf" srcId="{F0E42653-DB83-440B-8FE7-43B8DCD0D308}" destId="{A1E944B2-CDF3-4316-B8E5-26C78245DE76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A4ED89F-ECEE-4330-BF32-715B30AEB8B9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AB12C15C-C219-4D83-A192-9A372C3D827C}">
      <dgm:prSet phldrT="[Текст]"/>
      <dgm:spPr/>
      <dgm:t>
        <a:bodyPr/>
        <a:lstStyle/>
        <a:p>
          <a:r>
            <a:rPr lang="ru-RU" dirty="0" smtClean="0"/>
            <a:t>Национальный проект </a:t>
          </a:r>
          <a:endParaRPr lang="ru-RU" dirty="0"/>
        </a:p>
      </dgm:t>
    </dgm:pt>
    <dgm:pt modelId="{1981063D-C792-4E5C-AB13-FD6C6D8FAFDA}" type="parTrans" cxnId="{AB251274-305A-4D97-8631-40483E4D545E}">
      <dgm:prSet/>
      <dgm:spPr/>
      <dgm:t>
        <a:bodyPr/>
        <a:lstStyle/>
        <a:p>
          <a:endParaRPr lang="ru-RU"/>
        </a:p>
      </dgm:t>
    </dgm:pt>
    <dgm:pt modelId="{92C133E5-DFE2-43D7-80AE-47AA567F5BB2}" type="sibTrans" cxnId="{AB251274-305A-4D97-8631-40483E4D545E}">
      <dgm:prSet/>
      <dgm:spPr/>
      <dgm:t>
        <a:bodyPr/>
        <a:lstStyle/>
        <a:p>
          <a:endParaRPr lang="ru-RU"/>
        </a:p>
      </dgm:t>
    </dgm:pt>
    <dgm:pt modelId="{E8775A26-75DB-4F12-BC42-73AC8646A22F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Федеральный  проект </a:t>
          </a:r>
          <a:endParaRPr lang="ru-RU" dirty="0"/>
        </a:p>
      </dgm:t>
    </dgm:pt>
    <dgm:pt modelId="{72F6AE61-FAF3-4066-B69B-8A30CD7A8678}" type="parTrans" cxnId="{620DA4FC-D5A4-4751-8274-3D14F272F4BA}">
      <dgm:prSet/>
      <dgm:spPr/>
      <dgm:t>
        <a:bodyPr/>
        <a:lstStyle/>
        <a:p>
          <a:endParaRPr lang="ru-RU"/>
        </a:p>
      </dgm:t>
    </dgm:pt>
    <dgm:pt modelId="{AD0801AC-47FB-4E37-8ABF-288936539488}" type="sibTrans" cxnId="{620DA4FC-D5A4-4751-8274-3D14F272F4BA}">
      <dgm:prSet/>
      <dgm:spPr/>
      <dgm:t>
        <a:bodyPr/>
        <a:lstStyle/>
        <a:p>
          <a:endParaRPr lang="ru-RU"/>
        </a:p>
      </dgm:t>
    </dgm:pt>
    <dgm:pt modelId="{13DAD9A9-97CD-4AC5-9E08-49485206BED7}">
      <dgm:prSet/>
      <dgm:spPr>
        <a:solidFill>
          <a:srgbClr val="FFFF00"/>
        </a:solidFill>
      </dgm:spPr>
      <dgm:t>
        <a:bodyPr/>
        <a:lstStyle/>
        <a:p>
          <a:r>
            <a:rPr lang="ru-RU" dirty="0" smtClean="0"/>
            <a:t>Региональный проект </a:t>
          </a:r>
          <a:endParaRPr lang="ru-RU" dirty="0"/>
        </a:p>
      </dgm:t>
    </dgm:pt>
    <dgm:pt modelId="{BC8C6757-1F4F-4714-864B-9D47375C79C2}" type="parTrans" cxnId="{9FCA86BE-8DED-406D-BCF2-ABE90C9BFD8F}">
      <dgm:prSet/>
      <dgm:spPr/>
      <dgm:t>
        <a:bodyPr/>
        <a:lstStyle/>
        <a:p>
          <a:endParaRPr lang="ru-RU"/>
        </a:p>
      </dgm:t>
    </dgm:pt>
    <dgm:pt modelId="{63D2AE0B-326E-4D64-9E1E-67245FBB8AF2}" type="sibTrans" cxnId="{9FCA86BE-8DED-406D-BCF2-ABE90C9BFD8F}">
      <dgm:prSet/>
      <dgm:spPr/>
      <dgm:t>
        <a:bodyPr/>
        <a:lstStyle/>
        <a:p>
          <a:endParaRPr lang="ru-RU"/>
        </a:p>
      </dgm:t>
    </dgm:pt>
    <dgm:pt modelId="{A18600F6-ADA0-4967-8C69-A6D7261AC999}" type="pres">
      <dgm:prSet presAssocID="{2A4ED89F-ECEE-4330-BF32-715B30AEB8B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F9506815-63B4-48E6-B329-9B5DF0784549}" type="pres">
      <dgm:prSet presAssocID="{AB12C15C-C219-4D83-A192-9A372C3D827C}" presName="hierRoot1" presStyleCnt="0">
        <dgm:presLayoutVars>
          <dgm:hierBranch val="init"/>
        </dgm:presLayoutVars>
      </dgm:prSet>
      <dgm:spPr/>
    </dgm:pt>
    <dgm:pt modelId="{BBDF8ACF-C4FD-400B-89FD-5307B6F1650E}" type="pres">
      <dgm:prSet presAssocID="{AB12C15C-C219-4D83-A192-9A372C3D827C}" presName="rootComposite1" presStyleCnt="0"/>
      <dgm:spPr/>
    </dgm:pt>
    <dgm:pt modelId="{52CFBB1B-3BC7-43E4-8652-6AA804DFFCAF}" type="pres">
      <dgm:prSet presAssocID="{AB12C15C-C219-4D83-A192-9A372C3D827C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941AC4C-65DA-42CA-A5B4-24331B23D4EC}" type="pres">
      <dgm:prSet presAssocID="{AB12C15C-C219-4D83-A192-9A372C3D827C}" presName="rootConnector1" presStyleLbl="node1" presStyleIdx="0" presStyleCnt="0"/>
      <dgm:spPr/>
      <dgm:t>
        <a:bodyPr/>
        <a:lstStyle/>
        <a:p>
          <a:endParaRPr lang="ru-RU"/>
        </a:p>
      </dgm:t>
    </dgm:pt>
    <dgm:pt modelId="{B90EC1F9-7CBA-467A-89FE-3B5A6EE4FCE7}" type="pres">
      <dgm:prSet presAssocID="{AB12C15C-C219-4D83-A192-9A372C3D827C}" presName="hierChild2" presStyleCnt="0"/>
      <dgm:spPr/>
    </dgm:pt>
    <dgm:pt modelId="{8E37C197-4B59-4E73-B866-5321E7AE161C}" type="pres">
      <dgm:prSet presAssocID="{72F6AE61-FAF3-4066-B69B-8A30CD7A8678}" presName="Name37" presStyleLbl="parChTrans1D2" presStyleIdx="0" presStyleCnt="1"/>
      <dgm:spPr/>
      <dgm:t>
        <a:bodyPr/>
        <a:lstStyle/>
        <a:p>
          <a:endParaRPr lang="ru-RU"/>
        </a:p>
      </dgm:t>
    </dgm:pt>
    <dgm:pt modelId="{BD24CFFD-08B4-4665-A656-57EF1F013065}" type="pres">
      <dgm:prSet presAssocID="{E8775A26-75DB-4F12-BC42-73AC8646A22F}" presName="hierRoot2" presStyleCnt="0">
        <dgm:presLayoutVars>
          <dgm:hierBranch/>
        </dgm:presLayoutVars>
      </dgm:prSet>
      <dgm:spPr/>
    </dgm:pt>
    <dgm:pt modelId="{E6254DF3-70FC-4B9E-8A40-E9C766E49959}" type="pres">
      <dgm:prSet presAssocID="{E8775A26-75DB-4F12-BC42-73AC8646A22F}" presName="rootComposite" presStyleCnt="0"/>
      <dgm:spPr/>
    </dgm:pt>
    <dgm:pt modelId="{7F20C3A6-C27D-4269-9132-7964E75CF862}" type="pres">
      <dgm:prSet presAssocID="{E8775A26-75DB-4F12-BC42-73AC8646A22F}" presName="rootText" presStyleLbl="node2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534F17F-D30D-4951-AC5B-A8716B40D6A9}" type="pres">
      <dgm:prSet presAssocID="{E8775A26-75DB-4F12-BC42-73AC8646A22F}" presName="rootConnector" presStyleLbl="node2" presStyleIdx="0" presStyleCnt="1"/>
      <dgm:spPr/>
      <dgm:t>
        <a:bodyPr/>
        <a:lstStyle/>
        <a:p>
          <a:endParaRPr lang="ru-RU"/>
        </a:p>
      </dgm:t>
    </dgm:pt>
    <dgm:pt modelId="{ABD00DCE-CE30-4965-8384-461E4C2A787E}" type="pres">
      <dgm:prSet presAssocID="{E8775A26-75DB-4F12-BC42-73AC8646A22F}" presName="hierChild4" presStyleCnt="0"/>
      <dgm:spPr/>
    </dgm:pt>
    <dgm:pt modelId="{72A6C81A-45DC-41AF-9E2E-A8213E5F0D66}" type="pres">
      <dgm:prSet presAssocID="{BC8C6757-1F4F-4714-864B-9D47375C79C2}" presName="Name35" presStyleLbl="parChTrans1D3" presStyleIdx="0" presStyleCnt="1"/>
      <dgm:spPr/>
      <dgm:t>
        <a:bodyPr/>
        <a:lstStyle/>
        <a:p>
          <a:endParaRPr lang="ru-RU"/>
        </a:p>
      </dgm:t>
    </dgm:pt>
    <dgm:pt modelId="{D95CC14D-71BA-4D86-9ECB-EE5FCEF9570B}" type="pres">
      <dgm:prSet presAssocID="{13DAD9A9-97CD-4AC5-9E08-49485206BED7}" presName="hierRoot2" presStyleCnt="0">
        <dgm:presLayoutVars>
          <dgm:hierBranch val="init"/>
        </dgm:presLayoutVars>
      </dgm:prSet>
      <dgm:spPr/>
    </dgm:pt>
    <dgm:pt modelId="{E0A743D2-B9B9-46B1-BC1D-162200199CB7}" type="pres">
      <dgm:prSet presAssocID="{13DAD9A9-97CD-4AC5-9E08-49485206BED7}" presName="rootComposite" presStyleCnt="0"/>
      <dgm:spPr/>
    </dgm:pt>
    <dgm:pt modelId="{8EE8E85F-D10B-47C5-AE7C-4A5B3ADF8AD9}" type="pres">
      <dgm:prSet presAssocID="{13DAD9A9-97CD-4AC5-9E08-49485206BED7}" presName="rootText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61A85A5-F115-4667-9B24-D1885117A0C4}" type="pres">
      <dgm:prSet presAssocID="{13DAD9A9-97CD-4AC5-9E08-49485206BED7}" presName="rootConnector" presStyleLbl="node3" presStyleIdx="0" presStyleCnt="1"/>
      <dgm:spPr/>
      <dgm:t>
        <a:bodyPr/>
        <a:lstStyle/>
        <a:p>
          <a:endParaRPr lang="ru-RU"/>
        </a:p>
      </dgm:t>
    </dgm:pt>
    <dgm:pt modelId="{CF0FC74B-B02D-4256-BE86-A042A5637D16}" type="pres">
      <dgm:prSet presAssocID="{13DAD9A9-97CD-4AC5-9E08-49485206BED7}" presName="hierChild4" presStyleCnt="0"/>
      <dgm:spPr/>
    </dgm:pt>
    <dgm:pt modelId="{FE34C747-BE4F-4F6E-A986-5D159C7C3DB5}" type="pres">
      <dgm:prSet presAssocID="{13DAD9A9-97CD-4AC5-9E08-49485206BED7}" presName="hierChild5" presStyleCnt="0"/>
      <dgm:spPr/>
    </dgm:pt>
    <dgm:pt modelId="{469B1A4C-8666-472E-8A27-B7833C27E1E5}" type="pres">
      <dgm:prSet presAssocID="{E8775A26-75DB-4F12-BC42-73AC8646A22F}" presName="hierChild5" presStyleCnt="0"/>
      <dgm:spPr/>
    </dgm:pt>
    <dgm:pt modelId="{ABCAA6B1-7DC1-4715-9850-5C64195A1799}" type="pres">
      <dgm:prSet presAssocID="{AB12C15C-C219-4D83-A192-9A372C3D827C}" presName="hierChild3" presStyleCnt="0"/>
      <dgm:spPr/>
    </dgm:pt>
  </dgm:ptLst>
  <dgm:cxnLst>
    <dgm:cxn modelId="{79446278-2E14-4F05-9487-441D1EC12C3A}" type="presOf" srcId="{E8775A26-75DB-4F12-BC42-73AC8646A22F}" destId="{5534F17F-D30D-4951-AC5B-A8716B40D6A9}" srcOrd="1" destOrd="0" presId="urn:microsoft.com/office/officeart/2005/8/layout/orgChart1"/>
    <dgm:cxn modelId="{620DA4FC-D5A4-4751-8274-3D14F272F4BA}" srcId="{AB12C15C-C219-4D83-A192-9A372C3D827C}" destId="{E8775A26-75DB-4F12-BC42-73AC8646A22F}" srcOrd="0" destOrd="0" parTransId="{72F6AE61-FAF3-4066-B69B-8A30CD7A8678}" sibTransId="{AD0801AC-47FB-4E37-8ABF-288936539488}"/>
    <dgm:cxn modelId="{826007A3-5FFC-4B35-B2D0-875864304686}" type="presOf" srcId="{E8775A26-75DB-4F12-BC42-73AC8646A22F}" destId="{7F20C3A6-C27D-4269-9132-7964E75CF862}" srcOrd="0" destOrd="0" presId="urn:microsoft.com/office/officeart/2005/8/layout/orgChart1"/>
    <dgm:cxn modelId="{70FF9332-5F84-4EEE-BFBA-A6D5DC95EA00}" type="presOf" srcId="{13DAD9A9-97CD-4AC5-9E08-49485206BED7}" destId="{8EE8E85F-D10B-47C5-AE7C-4A5B3ADF8AD9}" srcOrd="0" destOrd="0" presId="urn:microsoft.com/office/officeart/2005/8/layout/orgChart1"/>
    <dgm:cxn modelId="{4A2F8278-14E6-434D-844E-113B3B8DA31E}" type="presOf" srcId="{13DAD9A9-97CD-4AC5-9E08-49485206BED7}" destId="{261A85A5-F115-4667-9B24-D1885117A0C4}" srcOrd="1" destOrd="0" presId="urn:microsoft.com/office/officeart/2005/8/layout/orgChart1"/>
    <dgm:cxn modelId="{9FCA86BE-8DED-406D-BCF2-ABE90C9BFD8F}" srcId="{E8775A26-75DB-4F12-BC42-73AC8646A22F}" destId="{13DAD9A9-97CD-4AC5-9E08-49485206BED7}" srcOrd="0" destOrd="0" parTransId="{BC8C6757-1F4F-4714-864B-9D47375C79C2}" sibTransId="{63D2AE0B-326E-4D64-9E1E-67245FBB8AF2}"/>
    <dgm:cxn modelId="{6E2E69C2-5249-45A3-9F53-0FB0BD811B88}" type="presOf" srcId="{BC8C6757-1F4F-4714-864B-9D47375C79C2}" destId="{72A6C81A-45DC-41AF-9E2E-A8213E5F0D66}" srcOrd="0" destOrd="0" presId="urn:microsoft.com/office/officeart/2005/8/layout/orgChart1"/>
    <dgm:cxn modelId="{D38AF8E8-8C96-470A-A49A-5CD25B38736B}" type="presOf" srcId="{2A4ED89F-ECEE-4330-BF32-715B30AEB8B9}" destId="{A18600F6-ADA0-4967-8C69-A6D7261AC999}" srcOrd="0" destOrd="0" presId="urn:microsoft.com/office/officeart/2005/8/layout/orgChart1"/>
    <dgm:cxn modelId="{AF2D9420-7D06-4071-86B6-794E810266D1}" type="presOf" srcId="{AB12C15C-C219-4D83-A192-9A372C3D827C}" destId="{C941AC4C-65DA-42CA-A5B4-24331B23D4EC}" srcOrd="1" destOrd="0" presId="urn:microsoft.com/office/officeart/2005/8/layout/orgChart1"/>
    <dgm:cxn modelId="{AB251274-305A-4D97-8631-40483E4D545E}" srcId="{2A4ED89F-ECEE-4330-BF32-715B30AEB8B9}" destId="{AB12C15C-C219-4D83-A192-9A372C3D827C}" srcOrd="0" destOrd="0" parTransId="{1981063D-C792-4E5C-AB13-FD6C6D8FAFDA}" sibTransId="{92C133E5-DFE2-43D7-80AE-47AA567F5BB2}"/>
    <dgm:cxn modelId="{F3A771F4-5B51-4004-9953-365CE226E891}" type="presOf" srcId="{AB12C15C-C219-4D83-A192-9A372C3D827C}" destId="{52CFBB1B-3BC7-43E4-8652-6AA804DFFCAF}" srcOrd="0" destOrd="0" presId="urn:microsoft.com/office/officeart/2005/8/layout/orgChart1"/>
    <dgm:cxn modelId="{299678DE-D077-4F77-9C69-33C6489BC468}" type="presOf" srcId="{72F6AE61-FAF3-4066-B69B-8A30CD7A8678}" destId="{8E37C197-4B59-4E73-B866-5321E7AE161C}" srcOrd="0" destOrd="0" presId="urn:microsoft.com/office/officeart/2005/8/layout/orgChart1"/>
    <dgm:cxn modelId="{A7E2549D-6AC3-4D42-8EB2-AE5276A2CEB6}" type="presParOf" srcId="{A18600F6-ADA0-4967-8C69-A6D7261AC999}" destId="{F9506815-63B4-48E6-B329-9B5DF0784549}" srcOrd="0" destOrd="0" presId="urn:microsoft.com/office/officeart/2005/8/layout/orgChart1"/>
    <dgm:cxn modelId="{E68FA27A-DE7C-48FC-9C54-CAEEA24422DE}" type="presParOf" srcId="{F9506815-63B4-48E6-B329-9B5DF0784549}" destId="{BBDF8ACF-C4FD-400B-89FD-5307B6F1650E}" srcOrd="0" destOrd="0" presId="urn:microsoft.com/office/officeart/2005/8/layout/orgChart1"/>
    <dgm:cxn modelId="{F8EE7E5C-1F6E-4CB2-8C61-4CE77B5FD649}" type="presParOf" srcId="{BBDF8ACF-C4FD-400B-89FD-5307B6F1650E}" destId="{52CFBB1B-3BC7-43E4-8652-6AA804DFFCAF}" srcOrd="0" destOrd="0" presId="urn:microsoft.com/office/officeart/2005/8/layout/orgChart1"/>
    <dgm:cxn modelId="{F408F65D-73DC-4D2F-BEC7-65CD2B9399D9}" type="presParOf" srcId="{BBDF8ACF-C4FD-400B-89FD-5307B6F1650E}" destId="{C941AC4C-65DA-42CA-A5B4-24331B23D4EC}" srcOrd="1" destOrd="0" presId="urn:microsoft.com/office/officeart/2005/8/layout/orgChart1"/>
    <dgm:cxn modelId="{C11577C0-888B-478E-B7C5-06368425D0D6}" type="presParOf" srcId="{F9506815-63B4-48E6-B329-9B5DF0784549}" destId="{B90EC1F9-7CBA-467A-89FE-3B5A6EE4FCE7}" srcOrd="1" destOrd="0" presId="urn:microsoft.com/office/officeart/2005/8/layout/orgChart1"/>
    <dgm:cxn modelId="{6BCA470B-FFBC-45AA-B6FB-FAA471E023D0}" type="presParOf" srcId="{B90EC1F9-7CBA-467A-89FE-3B5A6EE4FCE7}" destId="{8E37C197-4B59-4E73-B866-5321E7AE161C}" srcOrd="0" destOrd="0" presId="urn:microsoft.com/office/officeart/2005/8/layout/orgChart1"/>
    <dgm:cxn modelId="{702153AE-593C-4BF2-8589-22705752D448}" type="presParOf" srcId="{B90EC1F9-7CBA-467A-89FE-3B5A6EE4FCE7}" destId="{BD24CFFD-08B4-4665-A656-57EF1F013065}" srcOrd="1" destOrd="0" presId="urn:microsoft.com/office/officeart/2005/8/layout/orgChart1"/>
    <dgm:cxn modelId="{FB0056CA-EE2F-4FB8-9B5D-67A6BD8C51B4}" type="presParOf" srcId="{BD24CFFD-08B4-4665-A656-57EF1F013065}" destId="{E6254DF3-70FC-4B9E-8A40-E9C766E49959}" srcOrd="0" destOrd="0" presId="urn:microsoft.com/office/officeart/2005/8/layout/orgChart1"/>
    <dgm:cxn modelId="{3FC8A2F2-75C0-4EC4-A17B-60285C72801A}" type="presParOf" srcId="{E6254DF3-70FC-4B9E-8A40-E9C766E49959}" destId="{7F20C3A6-C27D-4269-9132-7964E75CF862}" srcOrd="0" destOrd="0" presId="urn:microsoft.com/office/officeart/2005/8/layout/orgChart1"/>
    <dgm:cxn modelId="{000B5329-1F88-408D-9563-B682970C16BD}" type="presParOf" srcId="{E6254DF3-70FC-4B9E-8A40-E9C766E49959}" destId="{5534F17F-D30D-4951-AC5B-A8716B40D6A9}" srcOrd="1" destOrd="0" presId="urn:microsoft.com/office/officeart/2005/8/layout/orgChart1"/>
    <dgm:cxn modelId="{6A8B20DD-36A3-4DB3-9FF9-BCEB11C86005}" type="presParOf" srcId="{BD24CFFD-08B4-4665-A656-57EF1F013065}" destId="{ABD00DCE-CE30-4965-8384-461E4C2A787E}" srcOrd="1" destOrd="0" presId="urn:microsoft.com/office/officeart/2005/8/layout/orgChart1"/>
    <dgm:cxn modelId="{73D08EA9-B49A-4835-B38E-C54D0E3952E8}" type="presParOf" srcId="{ABD00DCE-CE30-4965-8384-461E4C2A787E}" destId="{72A6C81A-45DC-41AF-9E2E-A8213E5F0D66}" srcOrd="0" destOrd="0" presId="urn:microsoft.com/office/officeart/2005/8/layout/orgChart1"/>
    <dgm:cxn modelId="{298B6EC5-684A-4B7D-AA42-2F01FA040256}" type="presParOf" srcId="{ABD00DCE-CE30-4965-8384-461E4C2A787E}" destId="{D95CC14D-71BA-4D86-9ECB-EE5FCEF9570B}" srcOrd="1" destOrd="0" presId="urn:microsoft.com/office/officeart/2005/8/layout/orgChart1"/>
    <dgm:cxn modelId="{D00FF220-7930-4AE2-9228-1476C43A2D07}" type="presParOf" srcId="{D95CC14D-71BA-4D86-9ECB-EE5FCEF9570B}" destId="{E0A743D2-B9B9-46B1-BC1D-162200199CB7}" srcOrd="0" destOrd="0" presId="urn:microsoft.com/office/officeart/2005/8/layout/orgChart1"/>
    <dgm:cxn modelId="{458FFF5C-2544-431D-ACD5-7A6F61A733D0}" type="presParOf" srcId="{E0A743D2-B9B9-46B1-BC1D-162200199CB7}" destId="{8EE8E85F-D10B-47C5-AE7C-4A5B3ADF8AD9}" srcOrd="0" destOrd="0" presId="urn:microsoft.com/office/officeart/2005/8/layout/orgChart1"/>
    <dgm:cxn modelId="{010924CF-03F4-4EA8-99C4-A006B5E39589}" type="presParOf" srcId="{E0A743D2-B9B9-46B1-BC1D-162200199CB7}" destId="{261A85A5-F115-4667-9B24-D1885117A0C4}" srcOrd="1" destOrd="0" presId="urn:microsoft.com/office/officeart/2005/8/layout/orgChart1"/>
    <dgm:cxn modelId="{08B81B07-ED55-4BDD-8476-5FAC6A4C2238}" type="presParOf" srcId="{D95CC14D-71BA-4D86-9ECB-EE5FCEF9570B}" destId="{CF0FC74B-B02D-4256-BE86-A042A5637D16}" srcOrd="1" destOrd="0" presId="urn:microsoft.com/office/officeart/2005/8/layout/orgChart1"/>
    <dgm:cxn modelId="{80AC0595-3EE6-4D77-A052-8C20E1C8A889}" type="presParOf" srcId="{D95CC14D-71BA-4D86-9ECB-EE5FCEF9570B}" destId="{FE34C747-BE4F-4F6E-A986-5D159C7C3DB5}" srcOrd="2" destOrd="0" presId="urn:microsoft.com/office/officeart/2005/8/layout/orgChart1"/>
    <dgm:cxn modelId="{813E6708-7A40-4FBD-9BCC-5AD017BA9BCB}" type="presParOf" srcId="{BD24CFFD-08B4-4665-A656-57EF1F013065}" destId="{469B1A4C-8666-472E-8A27-B7833C27E1E5}" srcOrd="2" destOrd="0" presId="urn:microsoft.com/office/officeart/2005/8/layout/orgChart1"/>
    <dgm:cxn modelId="{815E51DD-1829-4BBF-9B6A-60338AE5431D}" type="presParOf" srcId="{F9506815-63B4-48E6-B329-9B5DF0784549}" destId="{ABCAA6B1-7DC1-4715-9850-5C64195A1799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2EEA6D5-1D89-47BB-B5B2-8EA9A7E8A8FC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359DF962-D80A-42F0-9BDD-7137B288F83C}">
      <dgm:prSet phldrT="[Текст]" custT="1"/>
      <dgm:spPr/>
      <dgm:t>
        <a:bodyPr/>
        <a:lstStyle/>
        <a:p>
          <a:r>
            <a:rPr lang="ru-RU" sz="1200" b="1">
              <a:latin typeface="Arial" pitchFamily="34" charset="0"/>
              <a:cs typeface="Arial" pitchFamily="34" charset="0"/>
            </a:rPr>
            <a:t>2</a:t>
          </a:r>
          <a:r>
            <a:rPr lang="ru-RU" sz="900" b="1">
              <a:latin typeface="Arial" pitchFamily="34" charset="0"/>
              <a:cs typeface="Arial" pitchFamily="34" charset="0"/>
            </a:rPr>
            <a:t>.Снижение административной нагрузки на застройщиков, совершенствование нормативно-правовой базы и порядка регулирования в сфере жилищного строительства</a:t>
          </a:r>
          <a:endParaRPr lang="ru-RU" sz="900">
            <a:latin typeface="Arial" pitchFamily="34" charset="0"/>
            <a:cs typeface="Arial" pitchFamily="34" charset="0"/>
          </a:endParaRPr>
        </a:p>
      </dgm:t>
    </dgm:pt>
    <dgm:pt modelId="{6C85DA5F-C160-42D8-A27F-5C758FDB57A2}">
      <dgm:prSet phldrT="[Текст]" custT="1"/>
      <dgm:spPr/>
      <dgm:t>
        <a:bodyPr/>
        <a:lstStyle/>
        <a:p>
          <a:r>
            <a:rPr lang="ru-RU" sz="1100" b="1" dirty="0">
              <a:latin typeface="Arial" pitchFamily="34" charset="0"/>
              <a:cs typeface="Arial" pitchFamily="34" charset="0"/>
            </a:rPr>
            <a:t>1</a:t>
          </a:r>
          <a:r>
            <a:rPr lang="ru-RU" sz="800" b="1" dirty="0">
              <a:latin typeface="Arial" pitchFamily="34" charset="0"/>
              <a:cs typeface="Arial" pitchFamily="34" charset="0"/>
            </a:rPr>
            <a:t>. Модернизация строительной отрасли и повышение качества индустриального жилищного строительства, в том числе посредством установления ограничений на использование устаревших технологий и стимулирования внедрения передовых технологий в проектировании и строительстве, совершенствование механизмов государственной поддержки строительства стандартного жилья</a:t>
          </a:r>
          <a:r>
            <a:rPr lang="ru-RU" sz="800" dirty="0">
              <a:latin typeface="Arial" pitchFamily="34" charset="0"/>
              <a:cs typeface="Arial" pitchFamily="34" charset="0"/>
            </a:rPr>
            <a:t>.</a:t>
          </a:r>
        </a:p>
      </dgm:t>
    </dgm:pt>
    <dgm:pt modelId="{E4D02768-B05F-4F6C-98AD-AAFBD9F89EA1}">
      <dgm:prSet phldrT="[Текст]" custT="1"/>
      <dgm:spPr/>
      <dgm:t>
        <a:bodyPr/>
        <a:lstStyle/>
        <a:p>
          <a:r>
            <a:rPr lang="ru-RU" sz="1400">
              <a:latin typeface="Arial" pitchFamily="34" charset="0"/>
              <a:cs typeface="Arial" pitchFamily="34" charset="0"/>
            </a:rPr>
            <a:t>Федеральный проект "Жилье"</a:t>
          </a:r>
        </a:p>
      </dgm:t>
    </dgm:pt>
    <dgm:pt modelId="{ABF2349F-4F4A-4221-B651-6E91E1C506C6}" type="sibTrans" cxnId="{2D13B843-634E-40D8-B0AC-E14542FA84F2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BA14B2CF-E7C4-4254-A580-769D6BD84299}" type="parTrans" cxnId="{2D13B843-634E-40D8-B0AC-E14542FA84F2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0BE085B9-BBFB-4093-9F7F-41ECA4954C41}" type="sibTrans" cxnId="{BB918BBB-4888-4EED-89E6-3A67ED04FD4A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E00FE3C8-D5B1-440B-96A9-C4144C1E3878}" type="parTrans" cxnId="{BB918BBB-4888-4EED-89E6-3A67ED04FD4A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2E2EB993-3D52-4E1B-B862-E7AA925944AF}" type="sibTrans" cxnId="{53013EC6-B476-4D2B-877A-811B9B1E9C97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454838C0-C90F-4257-A4C6-BE8515E944F8}" type="parTrans" cxnId="{53013EC6-B476-4D2B-877A-811B9B1E9C97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9F1C7B8B-DD53-4F6D-8E63-E79F23453F46}">
      <dgm:prSet custT="1"/>
      <dgm:spPr/>
      <dgm:t>
        <a:bodyPr/>
        <a:lstStyle/>
        <a:p>
          <a:r>
            <a:rPr lang="ru-RU" sz="1200" b="1" dirty="0">
              <a:latin typeface="Arial" pitchFamily="34" charset="0"/>
              <a:cs typeface="Arial" pitchFamily="34" charset="0"/>
            </a:rPr>
            <a:t>4</a:t>
          </a:r>
          <a:r>
            <a:rPr lang="ru-RU" sz="800" b="1" dirty="0">
              <a:latin typeface="Arial" pitchFamily="34" charset="0"/>
              <a:cs typeface="Arial" pitchFamily="34" charset="0"/>
            </a:rPr>
            <a:t>.Развитие высшего  и </a:t>
          </a:r>
          <a:r>
            <a:rPr lang="ru-RU" sz="8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среднего профессионального образования в области строительства </a:t>
          </a:r>
          <a:r>
            <a:rPr lang="ru-RU" sz="800" b="1" dirty="0">
              <a:latin typeface="Arial" pitchFamily="34" charset="0"/>
              <a:cs typeface="Arial" pitchFamily="34" charset="0"/>
            </a:rPr>
            <a:t>и городского хозяйства, а также реализация программ по повышению квалификации специалистов в области архитектуры, градостроительства и строительства</a:t>
          </a:r>
          <a:r>
            <a:rPr lang="ru-RU" sz="800" dirty="0">
              <a:latin typeface="Arial" pitchFamily="34" charset="0"/>
              <a:cs typeface="Arial" pitchFamily="34" charset="0"/>
            </a:rPr>
            <a:t>..</a:t>
          </a:r>
        </a:p>
      </dgm:t>
    </dgm:pt>
    <dgm:pt modelId="{B48DD9DB-6949-4E20-BE2F-524E78AB1897}" type="parTrans" cxnId="{2FD78411-67C5-4753-B91C-9A11170C7C6F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98B0B4BE-DEA8-4DE8-A397-A81025EB08E5}" type="sibTrans" cxnId="{2FD78411-67C5-4753-B91C-9A11170C7C6F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35DBE270-A36A-49EB-8180-71CD3B45C752}">
      <dgm:prSet custT="1"/>
      <dgm:spPr/>
      <dgm:t>
        <a:bodyPr/>
        <a:lstStyle/>
        <a:p>
          <a:r>
            <a:rPr lang="ru-RU" sz="700" dirty="0">
              <a:latin typeface="Arial" pitchFamily="34" charset="0"/>
              <a:cs typeface="Arial" pitchFamily="34" charset="0"/>
            </a:rPr>
            <a:t>.1.1.	Принято решение о выделении средств федерального бюджета на финансирование мероприятий по стимулированию программ развития жилищного строительства субъектов РФ </a:t>
          </a:r>
        </a:p>
        <a:p>
          <a:r>
            <a:rPr lang="ru-RU" sz="700" dirty="0">
              <a:latin typeface="Arial" pitchFamily="34" charset="0"/>
              <a:cs typeface="Arial" pitchFamily="34" charset="0"/>
            </a:rPr>
            <a:t>1.2.	Утвержден перечень субъектов РФ  для участия в мероприятиях по стимулированию программ развития жилищного строительства субъектов РФ </a:t>
          </a:r>
        </a:p>
        <a:p>
          <a:r>
            <a:rPr lang="ru-RU" sz="700" dirty="0">
              <a:latin typeface="Arial" pitchFamily="34" charset="0"/>
              <a:cs typeface="Arial" pitchFamily="34" charset="0"/>
            </a:rPr>
            <a:t>1.3.	Обеспечен ввод жилья в рамках реализации мероприятий по стимулированию программ развития жилищного строительства субъектов РФ </a:t>
          </a:r>
        </a:p>
        <a:p>
          <a:r>
            <a:rPr lang="ru-RU" sz="700" dirty="0">
              <a:latin typeface="Arial" pitchFamily="34" charset="0"/>
              <a:cs typeface="Arial" pitchFamily="34" charset="0"/>
            </a:rPr>
            <a:t>...</a:t>
          </a:r>
        </a:p>
        <a:p>
          <a:r>
            <a:rPr lang="ru-RU" sz="700" dirty="0">
              <a:latin typeface="Arial" pitchFamily="34" charset="0"/>
              <a:cs typeface="Arial" pitchFamily="34" charset="0"/>
            </a:rPr>
            <a:t>1.8.	Проведена разработка и актуализация порядка 100 стандартов продукции промышленности строительных материалов в целях повышения качества индустриального жилищного строительства .</a:t>
          </a:r>
        </a:p>
      </dgm:t>
    </dgm:pt>
    <dgm:pt modelId="{CE2A672B-DAAE-401F-857D-CFAA42AAC109}" type="parTrans" cxnId="{B3A7E8F6-A036-4C8E-BA66-BF208345CBE9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FF9AABE9-008D-4B42-9A54-7BD6B274E981}" type="sibTrans" cxnId="{B3A7E8F6-A036-4C8E-BA66-BF208345CBE9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C6BBB3A8-EB32-4C4A-A73A-9C910AB7CDEF}">
      <dgm:prSet custT="1"/>
      <dgm:spPr/>
      <dgm:t>
        <a:bodyPr/>
        <a:lstStyle/>
        <a:p>
          <a:r>
            <a:rPr lang="ru-RU" sz="800" dirty="0">
              <a:latin typeface="Arial" pitchFamily="34" charset="0"/>
              <a:cs typeface="Arial" pitchFamily="34" charset="0"/>
            </a:rPr>
            <a:t>.2.1.Обеспечено достижение целевых показателей, предусмотренных целевой моделью "Получение разрешения на строительство и территориальное планирование", в </a:t>
          </a:r>
          <a:r>
            <a:rPr lang="ru-RU" sz="800" dirty="0" err="1" smtClean="0">
              <a:latin typeface="Arial" pitchFamily="34" charset="0"/>
              <a:cs typeface="Arial" pitchFamily="34" charset="0"/>
            </a:rPr>
            <a:t>т.ч</a:t>
          </a:r>
          <a:r>
            <a:rPr lang="ru-RU" sz="800" dirty="0" smtClean="0">
              <a:latin typeface="Arial" pitchFamily="34" charset="0"/>
              <a:cs typeface="Arial" pitchFamily="34" charset="0"/>
            </a:rPr>
            <a:t>. числе </a:t>
          </a:r>
          <a:r>
            <a:rPr lang="ru-RU" sz="800" dirty="0">
              <a:latin typeface="Arial" pitchFamily="34" charset="0"/>
              <a:cs typeface="Arial" pitchFamily="34" charset="0"/>
            </a:rPr>
            <a:t>сокращены сроки предоставления услуги по получению разрешения на </a:t>
          </a:r>
          <a:r>
            <a:rPr lang="ru-RU" sz="800" dirty="0" err="1" smtClean="0">
              <a:latin typeface="Arial" pitchFamily="34" charset="0"/>
              <a:cs typeface="Arial" pitchFamily="34" charset="0"/>
            </a:rPr>
            <a:t>стр</a:t>
          </a:r>
          <a:r>
            <a:rPr lang="ru-RU" sz="800" dirty="0" smtClean="0">
              <a:latin typeface="Arial" pitchFamily="34" charset="0"/>
              <a:cs typeface="Arial" pitchFamily="34" charset="0"/>
            </a:rPr>
            <a:t>-во</a:t>
          </a:r>
          <a:endParaRPr lang="ru-RU" sz="800" dirty="0">
            <a:latin typeface="Arial" pitchFamily="34" charset="0"/>
            <a:cs typeface="Arial" pitchFamily="34" charset="0"/>
          </a:endParaRPr>
        </a:p>
        <a:p>
          <a:r>
            <a:rPr lang="ru-RU" sz="800" dirty="0">
              <a:latin typeface="Arial" pitchFamily="34" charset="0"/>
              <a:cs typeface="Arial" pitchFamily="34" charset="0"/>
            </a:rPr>
            <a:t>   </a:t>
          </a:r>
          <a:r>
            <a:rPr lang="ru-RU" sz="8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2.2.Осуществлен переход к прохождению административных процедур в жилищном строительстве по принципу "одного окна"</a:t>
          </a:r>
        </a:p>
        <a:p>
          <a:r>
            <a:rPr lang="ru-RU" sz="800" dirty="0" smtClean="0">
              <a:latin typeface="Arial" pitchFamily="34" charset="0"/>
              <a:cs typeface="Arial" pitchFamily="34" charset="0"/>
            </a:rPr>
            <a:t>....</a:t>
          </a:r>
          <a:endParaRPr lang="ru-RU" sz="800" dirty="0">
            <a:latin typeface="Arial" pitchFamily="34" charset="0"/>
            <a:cs typeface="Arial" pitchFamily="34" charset="0"/>
          </a:endParaRPr>
        </a:p>
        <a:p>
          <a:r>
            <a:rPr lang="ru-RU" sz="800" dirty="0">
              <a:latin typeface="Arial" pitchFamily="34" charset="0"/>
              <a:cs typeface="Arial" pitchFamily="34" charset="0"/>
            </a:rPr>
            <a:t>2.2.6.	Не менее 50% процедур исчерпывающего перечня административных процедур в сфере жилищного строительства осуществляются в электронном виде.</a:t>
          </a:r>
        </a:p>
      </dgm:t>
    </dgm:pt>
    <dgm:pt modelId="{AE866E95-45D9-4FC0-8E8D-F8860F274240}" type="parTrans" cxnId="{2D425945-2F63-4B2E-B270-01CAB46C2D4E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19E66475-96AD-43CD-B0E5-9FE99564542D}" type="sibTrans" cxnId="{2D425945-2F63-4B2E-B270-01CAB46C2D4E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4D3F336D-20B5-48FA-9439-6110BF3E6586}">
      <dgm:prSet custT="1"/>
      <dgm:spPr/>
      <dgm:t>
        <a:bodyPr/>
        <a:lstStyle/>
        <a:p>
          <a:r>
            <a:rPr lang="ru-RU" sz="700">
              <a:latin typeface="Arial" pitchFamily="34" charset="0"/>
              <a:cs typeface="Arial" pitchFamily="34" charset="0"/>
            </a:rPr>
            <a:t>3.1.Внесены изменения в законодательство РФ , предусматривающие упрощение механизма изъятия земельных участков в целях реализации проектов комплексного устойчивого развития территорий</a:t>
          </a:r>
        </a:p>
        <a:p>
          <a:r>
            <a:rPr lang="ru-RU" sz="700">
              <a:latin typeface="Arial" pitchFamily="34" charset="0"/>
              <a:cs typeface="Arial" pitchFamily="34" charset="0"/>
            </a:rPr>
            <a:t>3.2.Разработан методический документ "Стандарт комплексного развития территорий" с учетом лучших мировых практик в области городского планирования</a:t>
          </a:r>
        </a:p>
        <a:p>
          <a:r>
            <a:rPr lang="ru-RU" sz="700">
              <a:latin typeface="Arial" pitchFamily="34" charset="0"/>
              <a:cs typeface="Arial" pitchFamily="34" charset="0"/>
            </a:rPr>
            <a:t>...</a:t>
          </a:r>
        </a:p>
        <a:p>
          <a:r>
            <a:rPr lang="ru-RU" sz="700">
              <a:latin typeface="Arial" pitchFamily="34" charset="0"/>
              <a:cs typeface="Arial" pitchFamily="34" charset="0"/>
            </a:rPr>
            <a:t>3.5.Актуализированы нормативно-правовые документы градостроительного регулирования и планировки территории, архитектурного проектирования, технического регулирования, санитарно-эпидемиологического благополучия населения, в том числе с учетом методического документа "Стандарт комплексного развития территорий" .</a:t>
          </a:r>
        </a:p>
      </dgm:t>
    </dgm:pt>
    <dgm:pt modelId="{83101F3C-9932-4D46-AA98-0D2895E80158}" type="parTrans" cxnId="{63DBF7A9-AE1E-46E6-8D15-FA95B593869E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79396D8E-BA00-474A-8E2D-2CA58694040B}" type="sibTrans" cxnId="{63DBF7A9-AE1E-46E6-8D15-FA95B593869E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0820406F-4DDC-487F-8279-DA504CC50FF5}">
      <dgm:prSet custT="1"/>
      <dgm:spPr/>
      <dgm:t>
        <a:bodyPr/>
        <a:lstStyle/>
        <a:p>
          <a:r>
            <a:rPr lang="ru-RU" sz="800" b="1" dirty="0">
              <a:latin typeface="Arial" pitchFamily="34" charset="0"/>
              <a:cs typeface="Arial" pitchFamily="34" charset="0"/>
            </a:rPr>
            <a:t>4.1.Реализованы мероприятия по развитию и поддержке </a:t>
          </a:r>
          <a:r>
            <a:rPr lang="ru-RU" sz="800" dirty="0">
              <a:latin typeface="Arial" pitchFamily="34" charset="0"/>
              <a:cs typeface="Arial" pitchFamily="34" charset="0"/>
            </a:rPr>
            <a:t>высшего и </a:t>
          </a:r>
          <a:r>
            <a:rPr lang="ru-RU" sz="8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среднего профессионального образования в области строительства и городского хозяйства</a:t>
          </a:r>
        </a:p>
        <a:p>
          <a:r>
            <a:rPr lang="ru-RU" sz="800" dirty="0">
              <a:latin typeface="Arial" pitchFamily="34" charset="0"/>
              <a:cs typeface="Arial" pitchFamily="34" charset="0"/>
            </a:rPr>
            <a:t>4.2.Реализованы мероприятия по повышению квалификации специалистов в области архитектуры, градостроительства и строительства....</a:t>
          </a:r>
        </a:p>
      </dgm:t>
    </dgm:pt>
    <dgm:pt modelId="{C7FCC872-A13C-4590-9074-CDCB1900B9DC}" type="parTrans" cxnId="{6E10178C-0F1C-4C74-A097-7175015B61C2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D6F5F5FC-6DAB-467D-A02C-2DDCE24F78DF}" type="sibTrans" cxnId="{6E10178C-0F1C-4C74-A097-7175015B61C2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C2146F89-5B56-42FB-B3A5-BD132A7394D6}">
      <dgm:prSet phldrT="[Текст]" custT="1"/>
      <dgm:spPr/>
      <dgm:t>
        <a:bodyPr/>
        <a:lstStyle/>
        <a:p>
          <a:r>
            <a:rPr lang="ru-RU" sz="1100" b="1">
              <a:latin typeface="Arial" pitchFamily="34" charset="0"/>
              <a:cs typeface="Arial" pitchFamily="34" charset="0"/>
            </a:rPr>
            <a:t>3</a:t>
          </a:r>
          <a:r>
            <a:rPr lang="ru-RU" sz="800" b="1">
              <a:latin typeface="Arial" pitchFamily="34" charset="0"/>
              <a:cs typeface="Arial" pitchFamily="34" charset="0"/>
            </a:rPr>
            <a:t>.Обеспечение эффективного использования земель в целях массового жилищного строительства при условии сохранения и развития зеленого фонда и территорий, на которых располагаются природные объекты, имеющие экологическое, историко-культурное, рекреационное, оздоровительное и иное ценное значение</a:t>
          </a:r>
          <a:r>
            <a:rPr lang="ru-RU" sz="800">
              <a:latin typeface="Arial" pitchFamily="34" charset="0"/>
              <a:cs typeface="Arial" pitchFamily="34" charset="0"/>
            </a:rPr>
            <a:t>.</a:t>
          </a:r>
        </a:p>
      </dgm:t>
    </dgm:pt>
    <dgm:pt modelId="{B2385710-1960-4440-AAA7-B15C3253515C}" type="sibTrans" cxnId="{4806AE0A-261E-4F2E-8042-458EF3781DF8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ED77393E-F502-4BE9-B4CC-6C157AAFC5A7}" type="parTrans" cxnId="{4806AE0A-261E-4F2E-8042-458EF3781DF8}">
      <dgm:prSet/>
      <dgm:spPr/>
      <dgm:t>
        <a:bodyPr/>
        <a:lstStyle/>
        <a:p>
          <a:endParaRPr lang="ru-RU" sz="1800">
            <a:latin typeface="Arial" pitchFamily="34" charset="0"/>
            <a:cs typeface="Arial" pitchFamily="34" charset="0"/>
          </a:endParaRPr>
        </a:p>
      </dgm:t>
    </dgm:pt>
    <dgm:pt modelId="{93434ED8-D96D-4FAA-B6AE-6562AAFD079F}" type="pres">
      <dgm:prSet presAssocID="{02EEA6D5-1D89-47BB-B5B2-8EA9A7E8A8F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78E1F7D4-21FA-4D52-A1CD-23FF8A2533B7}" type="pres">
      <dgm:prSet presAssocID="{E4D02768-B05F-4F6C-98AD-AAFBD9F89EA1}" presName="hierRoot1" presStyleCnt="0">
        <dgm:presLayoutVars>
          <dgm:hierBranch val="init"/>
        </dgm:presLayoutVars>
      </dgm:prSet>
      <dgm:spPr/>
    </dgm:pt>
    <dgm:pt modelId="{06654386-1097-4C2F-ADA3-E274DEE3C925}" type="pres">
      <dgm:prSet presAssocID="{E4D02768-B05F-4F6C-98AD-AAFBD9F89EA1}" presName="rootComposite1" presStyleCnt="0"/>
      <dgm:spPr/>
    </dgm:pt>
    <dgm:pt modelId="{A49E9424-C44C-4FE9-A841-039F2B70A69D}" type="pres">
      <dgm:prSet presAssocID="{E4D02768-B05F-4F6C-98AD-AAFBD9F89EA1}" presName="rootText1" presStyleLbl="node0" presStyleIdx="0" presStyleCnt="1" custScaleX="316376" custScaleY="5819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29B8675-ABD7-42DB-82DD-F95CACE76BBE}" type="pres">
      <dgm:prSet presAssocID="{E4D02768-B05F-4F6C-98AD-AAFBD9F89EA1}" presName="rootConnector1" presStyleLbl="node1" presStyleIdx="0" presStyleCnt="0"/>
      <dgm:spPr/>
      <dgm:t>
        <a:bodyPr/>
        <a:lstStyle/>
        <a:p>
          <a:endParaRPr lang="ru-RU"/>
        </a:p>
      </dgm:t>
    </dgm:pt>
    <dgm:pt modelId="{453A78DC-938E-42D4-BF89-05DA66C7C067}" type="pres">
      <dgm:prSet presAssocID="{E4D02768-B05F-4F6C-98AD-AAFBD9F89EA1}" presName="hierChild2" presStyleCnt="0"/>
      <dgm:spPr/>
    </dgm:pt>
    <dgm:pt modelId="{1F484FAC-A796-4C3D-A2AC-DF0257502C23}" type="pres">
      <dgm:prSet presAssocID="{454838C0-C90F-4257-A4C6-BE8515E944F8}" presName="Name37" presStyleLbl="parChTrans1D2" presStyleIdx="0" presStyleCnt="4"/>
      <dgm:spPr/>
      <dgm:t>
        <a:bodyPr/>
        <a:lstStyle/>
        <a:p>
          <a:endParaRPr lang="ru-RU"/>
        </a:p>
      </dgm:t>
    </dgm:pt>
    <dgm:pt modelId="{EB29C78D-0664-4D8E-AEBD-8AA7A1369B87}" type="pres">
      <dgm:prSet presAssocID="{6C85DA5F-C160-42D8-A27F-5C758FDB57A2}" presName="hierRoot2" presStyleCnt="0">
        <dgm:presLayoutVars>
          <dgm:hierBranch/>
        </dgm:presLayoutVars>
      </dgm:prSet>
      <dgm:spPr/>
    </dgm:pt>
    <dgm:pt modelId="{F614DC3C-1C5A-4F4B-8BAA-53B1A45B6E1F}" type="pres">
      <dgm:prSet presAssocID="{6C85DA5F-C160-42D8-A27F-5C758FDB57A2}" presName="rootComposite" presStyleCnt="0"/>
      <dgm:spPr/>
    </dgm:pt>
    <dgm:pt modelId="{21628449-9170-4E59-BD8D-2EDA723B4752}" type="pres">
      <dgm:prSet presAssocID="{6C85DA5F-C160-42D8-A27F-5C758FDB57A2}" presName="rootText" presStyleLbl="node2" presStyleIdx="0" presStyleCnt="4" custScaleX="145181" custScaleY="281330" custLinFactNeighborX="-527" custLinFactNeighborY="105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81F5A6D-CEEB-4410-B873-86925AD000AC}" type="pres">
      <dgm:prSet presAssocID="{6C85DA5F-C160-42D8-A27F-5C758FDB57A2}" presName="rootConnector" presStyleLbl="node2" presStyleIdx="0" presStyleCnt="4"/>
      <dgm:spPr/>
      <dgm:t>
        <a:bodyPr/>
        <a:lstStyle/>
        <a:p>
          <a:endParaRPr lang="ru-RU"/>
        </a:p>
      </dgm:t>
    </dgm:pt>
    <dgm:pt modelId="{56EB45A9-0AA7-45DA-B50C-5448673E2A39}" type="pres">
      <dgm:prSet presAssocID="{6C85DA5F-C160-42D8-A27F-5C758FDB57A2}" presName="hierChild4" presStyleCnt="0"/>
      <dgm:spPr/>
    </dgm:pt>
    <dgm:pt modelId="{1473D2A0-5132-4E55-986B-DBBC4410F2B8}" type="pres">
      <dgm:prSet presAssocID="{CE2A672B-DAAE-401F-857D-CFAA42AAC109}" presName="Name35" presStyleLbl="parChTrans1D3" presStyleIdx="0" presStyleCnt="4"/>
      <dgm:spPr/>
      <dgm:t>
        <a:bodyPr/>
        <a:lstStyle/>
        <a:p>
          <a:endParaRPr lang="ru-RU"/>
        </a:p>
      </dgm:t>
    </dgm:pt>
    <dgm:pt modelId="{B0E11E61-7E69-4BCF-ACDE-2D3DEF5E0879}" type="pres">
      <dgm:prSet presAssocID="{35DBE270-A36A-49EB-8180-71CD3B45C752}" presName="hierRoot2" presStyleCnt="0">
        <dgm:presLayoutVars>
          <dgm:hierBranch val="init"/>
        </dgm:presLayoutVars>
      </dgm:prSet>
      <dgm:spPr/>
    </dgm:pt>
    <dgm:pt modelId="{8EB08525-9881-4C77-9A71-2A33E99F56CD}" type="pres">
      <dgm:prSet presAssocID="{35DBE270-A36A-49EB-8180-71CD3B45C752}" presName="rootComposite" presStyleCnt="0"/>
      <dgm:spPr/>
    </dgm:pt>
    <dgm:pt modelId="{4A868E25-5A4C-401A-8C4B-46CD2A14A95E}" type="pres">
      <dgm:prSet presAssocID="{35DBE270-A36A-49EB-8180-71CD3B45C752}" presName="rootText" presStyleLbl="node3" presStyleIdx="0" presStyleCnt="4" custScaleX="154996" custScaleY="334260" custLinFactNeighborX="-2802" custLinFactNeighborY="-195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F97D85A-BD04-4417-8018-35A8569185E0}" type="pres">
      <dgm:prSet presAssocID="{35DBE270-A36A-49EB-8180-71CD3B45C752}" presName="rootConnector" presStyleLbl="node3" presStyleIdx="0" presStyleCnt="4"/>
      <dgm:spPr/>
      <dgm:t>
        <a:bodyPr/>
        <a:lstStyle/>
        <a:p>
          <a:endParaRPr lang="ru-RU"/>
        </a:p>
      </dgm:t>
    </dgm:pt>
    <dgm:pt modelId="{8937D2AB-7C72-455C-BDC2-BEA16EFA14D3}" type="pres">
      <dgm:prSet presAssocID="{35DBE270-A36A-49EB-8180-71CD3B45C752}" presName="hierChild4" presStyleCnt="0"/>
      <dgm:spPr/>
    </dgm:pt>
    <dgm:pt modelId="{4367C802-DBDA-46A7-94BE-17F6FFC4BE8D}" type="pres">
      <dgm:prSet presAssocID="{35DBE270-A36A-49EB-8180-71CD3B45C752}" presName="hierChild5" presStyleCnt="0"/>
      <dgm:spPr/>
    </dgm:pt>
    <dgm:pt modelId="{89E4336D-7924-406B-B490-9C97C7F566D4}" type="pres">
      <dgm:prSet presAssocID="{6C85DA5F-C160-42D8-A27F-5C758FDB57A2}" presName="hierChild5" presStyleCnt="0"/>
      <dgm:spPr/>
    </dgm:pt>
    <dgm:pt modelId="{1D38E60F-6A58-4F3F-A7FF-385AC89023C2}" type="pres">
      <dgm:prSet presAssocID="{E00FE3C8-D5B1-440B-96A9-C4144C1E3878}" presName="Name37" presStyleLbl="parChTrans1D2" presStyleIdx="1" presStyleCnt="4"/>
      <dgm:spPr/>
      <dgm:t>
        <a:bodyPr/>
        <a:lstStyle/>
        <a:p>
          <a:endParaRPr lang="ru-RU"/>
        </a:p>
      </dgm:t>
    </dgm:pt>
    <dgm:pt modelId="{75E8EDCA-5E6B-4B50-B83F-DD60079AD334}" type="pres">
      <dgm:prSet presAssocID="{359DF962-D80A-42F0-9BDD-7137B288F83C}" presName="hierRoot2" presStyleCnt="0">
        <dgm:presLayoutVars>
          <dgm:hierBranch/>
        </dgm:presLayoutVars>
      </dgm:prSet>
      <dgm:spPr/>
    </dgm:pt>
    <dgm:pt modelId="{933986FC-E232-4635-89ED-58534CBBCBDF}" type="pres">
      <dgm:prSet presAssocID="{359DF962-D80A-42F0-9BDD-7137B288F83C}" presName="rootComposite" presStyleCnt="0"/>
      <dgm:spPr/>
    </dgm:pt>
    <dgm:pt modelId="{6F8F6141-420E-4566-B412-B2EA3073D967}" type="pres">
      <dgm:prSet presAssocID="{359DF962-D80A-42F0-9BDD-7137B288F83C}" presName="rootText" presStyleLbl="node2" presStyleIdx="1" presStyleCnt="4" custScaleX="134516" custScaleY="276008" custLinFactNeighborX="-17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3326C77D-8B66-4FC9-BFFB-EEBE2BBFB90C}" type="pres">
      <dgm:prSet presAssocID="{359DF962-D80A-42F0-9BDD-7137B288F83C}" presName="rootConnector" presStyleLbl="node2" presStyleIdx="1" presStyleCnt="4"/>
      <dgm:spPr/>
      <dgm:t>
        <a:bodyPr/>
        <a:lstStyle/>
        <a:p>
          <a:endParaRPr lang="ru-RU"/>
        </a:p>
      </dgm:t>
    </dgm:pt>
    <dgm:pt modelId="{B138DC75-5894-4CE5-BA5E-660F36899592}" type="pres">
      <dgm:prSet presAssocID="{359DF962-D80A-42F0-9BDD-7137B288F83C}" presName="hierChild4" presStyleCnt="0"/>
      <dgm:spPr/>
    </dgm:pt>
    <dgm:pt modelId="{14660E34-824A-4EE3-A657-AD9162921DBB}" type="pres">
      <dgm:prSet presAssocID="{AE866E95-45D9-4FC0-8E8D-F8860F274240}" presName="Name35" presStyleLbl="parChTrans1D3" presStyleIdx="1" presStyleCnt="4"/>
      <dgm:spPr/>
      <dgm:t>
        <a:bodyPr/>
        <a:lstStyle/>
        <a:p>
          <a:endParaRPr lang="ru-RU"/>
        </a:p>
      </dgm:t>
    </dgm:pt>
    <dgm:pt modelId="{C1F9CEC2-70AC-4CD1-937D-E0C9E721291C}" type="pres">
      <dgm:prSet presAssocID="{C6BBB3A8-EB32-4C4A-A73A-9C910AB7CDEF}" presName="hierRoot2" presStyleCnt="0">
        <dgm:presLayoutVars>
          <dgm:hierBranch val="init"/>
        </dgm:presLayoutVars>
      </dgm:prSet>
      <dgm:spPr/>
    </dgm:pt>
    <dgm:pt modelId="{0B9F9E15-1A80-461B-8705-4E25B7C11992}" type="pres">
      <dgm:prSet presAssocID="{C6BBB3A8-EB32-4C4A-A73A-9C910AB7CDEF}" presName="rootComposite" presStyleCnt="0"/>
      <dgm:spPr/>
    </dgm:pt>
    <dgm:pt modelId="{412B4602-40E7-422D-BA10-27D927423907}" type="pres">
      <dgm:prSet presAssocID="{C6BBB3A8-EB32-4C4A-A73A-9C910AB7CDEF}" presName="rootText" presStyleLbl="node3" presStyleIdx="1" presStyleCnt="4" custScaleX="163329" custScaleY="327167" custLinFactNeighborX="-54" custLinFactNeighborY="15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331E0A5-5087-4B32-85B7-0E5E542798F7}" type="pres">
      <dgm:prSet presAssocID="{C6BBB3A8-EB32-4C4A-A73A-9C910AB7CDEF}" presName="rootConnector" presStyleLbl="node3" presStyleIdx="1" presStyleCnt="4"/>
      <dgm:spPr/>
      <dgm:t>
        <a:bodyPr/>
        <a:lstStyle/>
        <a:p>
          <a:endParaRPr lang="ru-RU"/>
        </a:p>
      </dgm:t>
    </dgm:pt>
    <dgm:pt modelId="{E77EB37F-CB86-4FA5-A373-5E1CC80B5DD7}" type="pres">
      <dgm:prSet presAssocID="{C6BBB3A8-EB32-4C4A-A73A-9C910AB7CDEF}" presName="hierChild4" presStyleCnt="0"/>
      <dgm:spPr/>
    </dgm:pt>
    <dgm:pt modelId="{DB165E79-379E-4476-815C-05E947A3EE1F}" type="pres">
      <dgm:prSet presAssocID="{C6BBB3A8-EB32-4C4A-A73A-9C910AB7CDEF}" presName="hierChild5" presStyleCnt="0"/>
      <dgm:spPr/>
    </dgm:pt>
    <dgm:pt modelId="{C07F8FBD-092A-4CDB-B96F-3AC0E2A0CFC8}" type="pres">
      <dgm:prSet presAssocID="{359DF962-D80A-42F0-9BDD-7137B288F83C}" presName="hierChild5" presStyleCnt="0"/>
      <dgm:spPr/>
    </dgm:pt>
    <dgm:pt modelId="{4C599A55-9F76-4430-838E-FDC4DFC00393}" type="pres">
      <dgm:prSet presAssocID="{ED77393E-F502-4BE9-B4CC-6C157AAFC5A7}" presName="Name37" presStyleLbl="parChTrans1D2" presStyleIdx="2" presStyleCnt="4"/>
      <dgm:spPr/>
      <dgm:t>
        <a:bodyPr/>
        <a:lstStyle/>
        <a:p>
          <a:endParaRPr lang="ru-RU"/>
        </a:p>
      </dgm:t>
    </dgm:pt>
    <dgm:pt modelId="{27968FC6-31E2-4B5A-AA56-7211867E13DE}" type="pres">
      <dgm:prSet presAssocID="{C2146F89-5B56-42FB-B3A5-BD132A7394D6}" presName="hierRoot2" presStyleCnt="0">
        <dgm:presLayoutVars>
          <dgm:hierBranch/>
        </dgm:presLayoutVars>
      </dgm:prSet>
      <dgm:spPr/>
    </dgm:pt>
    <dgm:pt modelId="{7605DC8E-4A2B-495E-B0B0-3D1D4FE37F6E}" type="pres">
      <dgm:prSet presAssocID="{C2146F89-5B56-42FB-B3A5-BD132A7394D6}" presName="rootComposite" presStyleCnt="0"/>
      <dgm:spPr/>
    </dgm:pt>
    <dgm:pt modelId="{88002BEC-7B45-4985-A334-24BDA6CB0B52}" type="pres">
      <dgm:prSet presAssocID="{C2146F89-5B56-42FB-B3A5-BD132A7394D6}" presName="rootText" presStyleLbl="node2" presStyleIdx="2" presStyleCnt="4" custScaleX="124965" custScaleY="267732" custLinFactNeighborX="-457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EB72BEF-1A24-4ADF-9BC6-594851FA222E}" type="pres">
      <dgm:prSet presAssocID="{C2146F89-5B56-42FB-B3A5-BD132A7394D6}" presName="rootConnector" presStyleLbl="node2" presStyleIdx="2" presStyleCnt="4"/>
      <dgm:spPr/>
      <dgm:t>
        <a:bodyPr/>
        <a:lstStyle/>
        <a:p>
          <a:endParaRPr lang="ru-RU"/>
        </a:p>
      </dgm:t>
    </dgm:pt>
    <dgm:pt modelId="{319F90D4-AC8D-4890-ABD7-EA03C603B185}" type="pres">
      <dgm:prSet presAssocID="{C2146F89-5B56-42FB-B3A5-BD132A7394D6}" presName="hierChild4" presStyleCnt="0"/>
      <dgm:spPr/>
    </dgm:pt>
    <dgm:pt modelId="{2A0C8109-C329-4F52-92DE-DB2729BC7A36}" type="pres">
      <dgm:prSet presAssocID="{83101F3C-9932-4D46-AA98-0D2895E80158}" presName="Name35" presStyleLbl="parChTrans1D3" presStyleIdx="2" presStyleCnt="4"/>
      <dgm:spPr/>
      <dgm:t>
        <a:bodyPr/>
        <a:lstStyle/>
        <a:p>
          <a:endParaRPr lang="ru-RU"/>
        </a:p>
      </dgm:t>
    </dgm:pt>
    <dgm:pt modelId="{5DB73ED0-01A4-42B4-AE30-8A75A5163B5F}" type="pres">
      <dgm:prSet presAssocID="{4D3F336D-20B5-48FA-9439-6110BF3E6586}" presName="hierRoot2" presStyleCnt="0">
        <dgm:presLayoutVars>
          <dgm:hierBranch val="init"/>
        </dgm:presLayoutVars>
      </dgm:prSet>
      <dgm:spPr/>
    </dgm:pt>
    <dgm:pt modelId="{D85D58AC-727B-4051-A633-62E35A505F41}" type="pres">
      <dgm:prSet presAssocID="{4D3F336D-20B5-48FA-9439-6110BF3E6586}" presName="rootComposite" presStyleCnt="0"/>
      <dgm:spPr/>
    </dgm:pt>
    <dgm:pt modelId="{A4CE9E17-17B8-409C-9FBA-27613EFAC678}" type="pres">
      <dgm:prSet presAssocID="{4D3F336D-20B5-48FA-9439-6110BF3E6586}" presName="rootText" presStyleLbl="node3" presStyleIdx="2" presStyleCnt="4" custScaleX="158403" custScaleY="329125" custLinFactNeighborX="-3510" custLinFactNeighborY="640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9A28718-7461-465D-9859-8054854456B5}" type="pres">
      <dgm:prSet presAssocID="{4D3F336D-20B5-48FA-9439-6110BF3E6586}" presName="rootConnector" presStyleLbl="node3" presStyleIdx="2" presStyleCnt="4"/>
      <dgm:spPr/>
      <dgm:t>
        <a:bodyPr/>
        <a:lstStyle/>
        <a:p>
          <a:endParaRPr lang="ru-RU"/>
        </a:p>
      </dgm:t>
    </dgm:pt>
    <dgm:pt modelId="{ECD95C20-A761-4D83-B3DC-23E08B35D2EE}" type="pres">
      <dgm:prSet presAssocID="{4D3F336D-20B5-48FA-9439-6110BF3E6586}" presName="hierChild4" presStyleCnt="0"/>
      <dgm:spPr/>
    </dgm:pt>
    <dgm:pt modelId="{2A70A12E-D949-4D29-9811-3CCC4C016725}" type="pres">
      <dgm:prSet presAssocID="{4D3F336D-20B5-48FA-9439-6110BF3E6586}" presName="hierChild5" presStyleCnt="0"/>
      <dgm:spPr/>
    </dgm:pt>
    <dgm:pt modelId="{4CD3F736-1557-4047-AE06-F2B93B88251B}" type="pres">
      <dgm:prSet presAssocID="{C2146F89-5B56-42FB-B3A5-BD132A7394D6}" presName="hierChild5" presStyleCnt="0"/>
      <dgm:spPr/>
    </dgm:pt>
    <dgm:pt modelId="{567412DE-B6E6-4EC2-A7A0-D7F290D49B16}" type="pres">
      <dgm:prSet presAssocID="{B48DD9DB-6949-4E20-BE2F-524E78AB1897}" presName="Name37" presStyleLbl="parChTrans1D2" presStyleIdx="3" presStyleCnt="4"/>
      <dgm:spPr/>
      <dgm:t>
        <a:bodyPr/>
        <a:lstStyle/>
        <a:p>
          <a:endParaRPr lang="ru-RU"/>
        </a:p>
      </dgm:t>
    </dgm:pt>
    <dgm:pt modelId="{532C10F4-808D-4888-9BD2-16643C508605}" type="pres">
      <dgm:prSet presAssocID="{9F1C7B8B-DD53-4F6D-8E63-E79F23453F46}" presName="hierRoot2" presStyleCnt="0">
        <dgm:presLayoutVars>
          <dgm:hierBranch/>
        </dgm:presLayoutVars>
      </dgm:prSet>
      <dgm:spPr/>
    </dgm:pt>
    <dgm:pt modelId="{4F2DD085-06C3-4464-AA63-E3C0F6E0D0ED}" type="pres">
      <dgm:prSet presAssocID="{9F1C7B8B-DD53-4F6D-8E63-E79F23453F46}" presName="rootComposite" presStyleCnt="0"/>
      <dgm:spPr/>
    </dgm:pt>
    <dgm:pt modelId="{3D110904-5138-4214-A098-E09403DE990C}" type="pres">
      <dgm:prSet presAssocID="{9F1C7B8B-DD53-4F6D-8E63-E79F23453F46}" presName="rootText" presStyleLbl="node2" presStyleIdx="3" presStyleCnt="4" custScaleX="126902" custScaleY="26051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BB35C11-DFA5-41D1-991F-A7C150764B91}" type="pres">
      <dgm:prSet presAssocID="{9F1C7B8B-DD53-4F6D-8E63-E79F23453F46}" presName="rootConnector" presStyleLbl="node2" presStyleIdx="3" presStyleCnt="4"/>
      <dgm:spPr/>
      <dgm:t>
        <a:bodyPr/>
        <a:lstStyle/>
        <a:p>
          <a:endParaRPr lang="ru-RU"/>
        </a:p>
      </dgm:t>
    </dgm:pt>
    <dgm:pt modelId="{2892AD85-353E-4250-8C85-953F2DBCC395}" type="pres">
      <dgm:prSet presAssocID="{9F1C7B8B-DD53-4F6D-8E63-E79F23453F46}" presName="hierChild4" presStyleCnt="0"/>
      <dgm:spPr/>
    </dgm:pt>
    <dgm:pt modelId="{9C0A4607-0CF2-4170-A7CF-2CA5E2C599C3}" type="pres">
      <dgm:prSet presAssocID="{C7FCC872-A13C-4590-9074-CDCB1900B9DC}" presName="Name35" presStyleLbl="parChTrans1D3" presStyleIdx="3" presStyleCnt="4"/>
      <dgm:spPr/>
      <dgm:t>
        <a:bodyPr/>
        <a:lstStyle/>
        <a:p>
          <a:endParaRPr lang="ru-RU"/>
        </a:p>
      </dgm:t>
    </dgm:pt>
    <dgm:pt modelId="{C6AE1290-113E-4255-9F10-AC63D47A0C8E}" type="pres">
      <dgm:prSet presAssocID="{0820406F-4DDC-487F-8279-DA504CC50FF5}" presName="hierRoot2" presStyleCnt="0">
        <dgm:presLayoutVars>
          <dgm:hierBranch val="init"/>
        </dgm:presLayoutVars>
      </dgm:prSet>
      <dgm:spPr/>
    </dgm:pt>
    <dgm:pt modelId="{575EE86D-406F-4A66-90FF-3F2DC936DB5A}" type="pres">
      <dgm:prSet presAssocID="{0820406F-4DDC-487F-8279-DA504CC50FF5}" presName="rootComposite" presStyleCnt="0"/>
      <dgm:spPr/>
    </dgm:pt>
    <dgm:pt modelId="{B17BF896-E765-47D1-A2EF-82EE2746EC25}" type="pres">
      <dgm:prSet presAssocID="{0820406F-4DDC-487F-8279-DA504CC50FF5}" presName="rootText" presStyleLbl="node3" presStyleIdx="3" presStyleCnt="4" custScaleX="120961" custScaleY="315954" custLinFactNeighborY="1629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965FC6D-4444-4367-AE36-EA4B057BDB3A}" type="pres">
      <dgm:prSet presAssocID="{0820406F-4DDC-487F-8279-DA504CC50FF5}" presName="rootConnector" presStyleLbl="node3" presStyleIdx="3" presStyleCnt="4"/>
      <dgm:spPr/>
      <dgm:t>
        <a:bodyPr/>
        <a:lstStyle/>
        <a:p>
          <a:endParaRPr lang="ru-RU"/>
        </a:p>
      </dgm:t>
    </dgm:pt>
    <dgm:pt modelId="{CA8BAE69-F64D-4D71-9179-87892742EC25}" type="pres">
      <dgm:prSet presAssocID="{0820406F-4DDC-487F-8279-DA504CC50FF5}" presName="hierChild4" presStyleCnt="0"/>
      <dgm:spPr/>
    </dgm:pt>
    <dgm:pt modelId="{C6E4EE42-CF34-4EC0-AC76-90854AA59945}" type="pres">
      <dgm:prSet presAssocID="{0820406F-4DDC-487F-8279-DA504CC50FF5}" presName="hierChild5" presStyleCnt="0"/>
      <dgm:spPr/>
    </dgm:pt>
    <dgm:pt modelId="{4741D2E4-E9F6-4975-9400-710C50B8156B}" type="pres">
      <dgm:prSet presAssocID="{9F1C7B8B-DD53-4F6D-8E63-E79F23453F46}" presName="hierChild5" presStyleCnt="0"/>
      <dgm:spPr/>
    </dgm:pt>
    <dgm:pt modelId="{0AC0F58F-48B9-49DE-88AB-803300F312A4}" type="pres">
      <dgm:prSet presAssocID="{E4D02768-B05F-4F6C-98AD-AAFBD9F89EA1}" presName="hierChild3" presStyleCnt="0"/>
      <dgm:spPr/>
    </dgm:pt>
  </dgm:ptLst>
  <dgm:cxnLst>
    <dgm:cxn modelId="{53013EC6-B476-4D2B-877A-811B9B1E9C97}" srcId="{E4D02768-B05F-4F6C-98AD-AAFBD9F89EA1}" destId="{6C85DA5F-C160-42D8-A27F-5C758FDB57A2}" srcOrd="0" destOrd="0" parTransId="{454838C0-C90F-4257-A4C6-BE8515E944F8}" sibTransId="{2E2EB993-3D52-4E1B-B862-E7AA925944AF}"/>
    <dgm:cxn modelId="{FB3F65E5-611D-4361-B815-D8FAD880F3E6}" type="presOf" srcId="{4D3F336D-20B5-48FA-9439-6110BF3E6586}" destId="{A4CE9E17-17B8-409C-9FBA-27613EFAC678}" srcOrd="0" destOrd="0" presId="urn:microsoft.com/office/officeart/2005/8/layout/orgChart1"/>
    <dgm:cxn modelId="{14518F1C-D5EC-427F-96AB-02C461F32372}" type="presOf" srcId="{9F1C7B8B-DD53-4F6D-8E63-E79F23453F46}" destId="{3D110904-5138-4214-A098-E09403DE990C}" srcOrd="0" destOrd="0" presId="urn:microsoft.com/office/officeart/2005/8/layout/orgChart1"/>
    <dgm:cxn modelId="{2D425945-2F63-4B2E-B270-01CAB46C2D4E}" srcId="{359DF962-D80A-42F0-9BDD-7137B288F83C}" destId="{C6BBB3A8-EB32-4C4A-A73A-9C910AB7CDEF}" srcOrd="0" destOrd="0" parTransId="{AE866E95-45D9-4FC0-8E8D-F8860F274240}" sibTransId="{19E66475-96AD-43CD-B0E5-9FE99564542D}"/>
    <dgm:cxn modelId="{650EBEA3-1233-4BD7-91D7-86D4FBE78AB4}" type="presOf" srcId="{454838C0-C90F-4257-A4C6-BE8515E944F8}" destId="{1F484FAC-A796-4C3D-A2AC-DF0257502C23}" srcOrd="0" destOrd="0" presId="urn:microsoft.com/office/officeart/2005/8/layout/orgChart1"/>
    <dgm:cxn modelId="{B04ED043-0659-4C3F-9059-9A7413ED4C13}" type="presOf" srcId="{35DBE270-A36A-49EB-8180-71CD3B45C752}" destId="{5F97D85A-BD04-4417-8018-35A8569185E0}" srcOrd="1" destOrd="0" presId="urn:microsoft.com/office/officeart/2005/8/layout/orgChart1"/>
    <dgm:cxn modelId="{63DBF7A9-AE1E-46E6-8D15-FA95B593869E}" srcId="{C2146F89-5B56-42FB-B3A5-BD132A7394D6}" destId="{4D3F336D-20B5-48FA-9439-6110BF3E6586}" srcOrd="0" destOrd="0" parTransId="{83101F3C-9932-4D46-AA98-0D2895E80158}" sibTransId="{79396D8E-BA00-474A-8E2D-2CA58694040B}"/>
    <dgm:cxn modelId="{EF811D66-2468-4824-93F5-3F0C4B44DCED}" type="presOf" srcId="{0820406F-4DDC-487F-8279-DA504CC50FF5}" destId="{8965FC6D-4444-4367-AE36-EA4B057BDB3A}" srcOrd="1" destOrd="0" presId="urn:microsoft.com/office/officeart/2005/8/layout/orgChart1"/>
    <dgm:cxn modelId="{9DFB99FF-72A8-4B53-B449-F008F782DD87}" type="presOf" srcId="{E4D02768-B05F-4F6C-98AD-AAFBD9F89EA1}" destId="{429B8675-ABD7-42DB-82DD-F95CACE76BBE}" srcOrd="1" destOrd="0" presId="urn:microsoft.com/office/officeart/2005/8/layout/orgChart1"/>
    <dgm:cxn modelId="{121EBFC4-276A-4A40-B653-2AFCABE3F105}" type="presOf" srcId="{359DF962-D80A-42F0-9BDD-7137B288F83C}" destId="{3326C77D-8B66-4FC9-BFFB-EEBE2BBFB90C}" srcOrd="1" destOrd="0" presId="urn:microsoft.com/office/officeart/2005/8/layout/orgChart1"/>
    <dgm:cxn modelId="{606B18B9-2EBA-401F-A2A2-611641DE5CA4}" type="presOf" srcId="{E00FE3C8-D5B1-440B-96A9-C4144C1E3878}" destId="{1D38E60F-6A58-4F3F-A7FF-385AC89023C2}" srcOrd="0" destOrd="0" presId="urn:microsoft.com/office/officeart/2005/8/layout/orgChart1"/>
    <dgm:cxn modelId="{3F82A177-49A5-4829-9A14-B63EE0E2FF97}" type="presOf" srcId="{E4D02768-B05F-4F6C-98AD-AAFBD9F89EA1}" destId="{A49E9424-C44C-4FE9-A841-039F2B70A69D}" srcOrd="0" destOrd="0" presId="urn:microsoft.com/office/officeart/2005/8/layout/orgChart1"/>
    <dgm:cxn modelId="{AB4D8994-79F2-4474-9D28-5100AA1E442E}" type="presOf" srcId="{02EEA6D5-1D89-47BB-B5B2-8EA9A7E8A8FC}" destId="{93434ED8-D96D-4FAA-B6AE-6562AAFD079F}" srcOrd="0" destOrd="0" presId="urn:microsoft.com/office/officeart/2005/8/layout/orgChart1"/>
    <dgm:cxn modelId="{50493248-07F9-4349-A2DE-3CB19EF5BCC4}" type="presOf" srcId="{CE2A672B-DAAE-401F-857D-CFAA42AAC109}" destId="{1473D2A0-5132-4E55-986B-DBBC4410F2B8}" srcOrd="0" destOrd="0" presId="urn:microsoft.com/office/officeart/2005/8/layout/orgChart1"/>
    <dgm:cxn modelId="{4405794A-8834-4F48-AE51-3B5CCB204263}" type="presOf" srcId="{B48DD9DB-6949-4E20-BE2F-524E78AB1897}" destId="{567412DE-B6E6-4EC2-A7A0-D7F290D49B16}" srcOrd="0" destOrd="0" presId="urn:microsoft.com/office/officeart/2005/8/layout/orgChart1"/>
    <dgm:cxn modelId="{DCDE29E6-C4C3-4329-927E-663F8A4EB58E}" type="presOf" srcId="{C2146F89-5B56-42FB-B3A5-BD132A7394D6}" destId="{1EB72BEF-1A24-4ADF-9BC6-594851FA222E}" srcOrd="1" destOrd="0" presId="urn:microsoft.com/office/officeart/2005/8/layout/orgChart1"/>
    <dgm:cxn modelId="{8310CB94-26FB-46CD-BF6A-44F4897BA7E0}" type="presOf" srcId="{C7FCC872-A13C-4590-9074-CDCB1900B9DC}" destId="{9C0A4607-0CF2-4170-A7CF-2CA5E2C599C3}" srcOrd="0" destOrd="0" presId="urn:microsoft.com/office/officeart/2005/8/layout/orgChart1"/>
    <dgm:cxn modelId="{D98E6BB6-35D6-450B-8AF4-E6826AE9F8E4}" type="presOf" srcId="{35DBE270-A36A-49EB-8180-71CD3B45C752}" destId="{4A868E25-5A4C-401A-8C4B-46CD2A14A95E}" srcOrd="0" destOrd="0" presId="urn:microsoft.com/office/officeart/2005/8/layout/orgChart1"/>
    <dgm:cxn modelId="{D93C3973-518D-478A-9E56-A703A0463095}" type="presOf" srcId="{C2146F89-5B56-42FB-B3A5-BD132A7394D6}" destId="{88002BEC-7B45-4985-A334-24BDA6CB0B52}" srcOrd="0" destOrd="0" presId="urn:microsoft.com/office/officeart/2005/8/layout/orgChart1"/>
    <dgm:cxn modelId="{4806AE0A-261E-4F2E-8042-458EF3781DF8}" srcId="{E4D02768-B05F-4F6C-98AD-AAFBD9F89EA1}" destId="{C2146F89-5B56-42FB-B3A5-BD132A7394D6}" srcOrd="2" destOrd="0" parTransId="{ED77393E-F502-4BE9-B4CC-6C157AAFC5A7}" sibTransId="{B2385710-1960-4440-AAA7-B15C3253515C}"/>
    <dgm:cxn modelId="{2FD78411-67C5-4753-B91C-9A11170C7C6F}" srcId="{E4D02768-B05F-4F6C-98AD-AAFBD9F89EA1}" destId="{9F1C7B8B-DD53-4F6D-8E63-E79F23453F46}" srcOrd="3" destOrd="0" parTransId="{B48DD9DB-6949-4E20-BE2F-524E78AB1897}" sibTransId="{98B0B4BE-DEA8-4DE8-A397-A81025EB08E5}"/>
    <dgm:cxn modelId="{10455D30-B3CE-4583-804B-CFD5DE61AAFD}" type="presOf" srcId="{4D3F336D-20B5-48FA-9439-6110BF3E6586}" destId="{C9A28718-7461-465D-9859-8054854456B5}" srcOrd="1" destOrd="0" presId="urn:microsoft.com/office/officeart/2005/8/layout/orgChart1"/>
    <dgm:cxn modelId="{05152101-3B59-4F35-813D-E72AB2980F6C}" type="presOf" srcId="{AE866E95-45D9-4FC0-8E8D-F8860F274240}" destId="{14660E34-824A-4EE3-A657-AD9162921DBB}" srcOrd="0" destOrd="0" presId="urn:microsoft.com/office/officeart/2005/8/layout/orgChart1"/>
    <dgm:cxn modelId="{C591BE46-A535-4645-9F0B-6FF018698172}" type="presOf" srcId="{0820406F-4DDC-487F-8279-DA504CC50FF5}" destId="{B17BF896-E765-47D1-A2EF-82EE2746EC25}" srcOrd="0" destOrd="0" presId="urn:microsoft.com/office/officeart/2005/8/layout/orgChart1"/>
    <dgm:cxn modelId="{B88E9BE2-6AE2-46A0-A12A-AC1F4A5EEFAD}" type="presOf" srcId="{9F1C7B8B-DD53-4F6D-8E63-E79F23453F46}" destId="{CBB35C11-DFA5-41D1-991F-A7C150764B91}" srcOrd="1" destOrd="0" presId="urn:microsoft.com/office/officeart/2005/8/layout/orgChart1"/>
    <dgm:cxn modelId="{BFC787C8-9FE4-4CE7-AD7E-3ACED2231D14}" type="presOf" srcId="{6C85DA5F-C160-42D8-A27F-5C758FDB57A2}" destId="{C81F5A6D-CEEB-4410-B873-86925AD000AC}" srcOrd="1" destOrd="0" presId="urn:microsoft.com/office/officeart/2005/8/layout/orgChart1"/>
    <dgm:cxn modelId="{0F24B1DF-344A-4FE4-8B16-371C905AE59B}" type="presOf" srcId="{C6BBB3A8-EB32-4C4A-A73A-9C910AB7CDEF}" destId="{9331E0A5-5087-4B32-85B7-0E5E542798F7}" srcOrd="1" destOrd="0" presId="urn:microsoft.com/office/officeart/2005/8/layout/orgChart1"/>
    <dgm:cxn modelId="{B3A7E8F6-A036-4C8E-BA66-BF208345CBE9}" srcId="{6C85DA5F-C160-42D8-A27F-5C758FDB57A2}" destId="{35DBE270-A36A-49EB-8180-71CD3B45C752}" srcOrd="0" destOrd="0" parTransId="{CE2A672B-DAAE-401F-857D-CFAA42AAC109}" sibTransId="{FF9AABE9-008D-4B42-9A54-7BD6B274E981}"/>
    <dgm:cxn modelId="{BB918BBB-4888-4EED-89E6-3A67ED04FD4A}" srcId="{E4D02768-B05F-4F6C-98AD-AAFBD9F89EA1}" destId="{359DF962-D80A-42F0-9BDD-7137B288F83C}" srcOrd="1" destOrd="0" parTransId="{E00FE3C8-D5B1-440B-96A9-C4144C1E3878}" sibTransId="{0BE085B9-BBFB-4093-9F7F-41ECA4954C41}"/>
    <dgm:cxn modelId="{14BFED00-7D8F-4277-9252-054558B61A2C}" type="presOf" srcId="{6C85DA5F-C160-42D8-A27F-5C758FDB57A2}" destId="{21628449-9170-4E59-BD8D-2EDA723B4752}" srcOrd="0" destOrd="0" presId="urn:microsoft.com/office/officeart/2005/8/layout/orgChart1"/>
    <dgm:cxn modelId="{8AC270B5-80BC-492C-936A-023BA6115255}" type="presOf" srcId="{359DF962-D80A-42F0-9BDD-7137B288F83C}" destId="{6F8F6141-420E-4566-B412-B2EA3073D967}" srcOrd="0" destOrd="0" presId="urn:microsoft.com/office/officeart/2005/8/layout/orgChart1"/>
    <dgm:cxn modelId="{E111E46B-9981-42CA-B775-68353FBE2415}" type="presOf" srcId="{ED77393E-F502-4BE9-B4CC-6C157AAFC5A7}" destId="{4C599A55-9F76-4430-838E-FDC4DFC00393}" srcOrd="0" destOrd="0" presId="urn:microsoft.com/office/officeart/2005/8/layout/orgChart1"/>
    <dgm:cxn modelId="{784D2044-DB2B-4318-8547-1885E6A7F02B}" type="presOf" srcId="{83101F3C-9932-4D46-AA98-0D2895E80158}" destId="{2A0C8109-C329-4F52-92DE-DB2729BC7A36}" srcOrd="0" destOrd="0" presId="urn:microsoft.com/office/officeart/2005/8/layout/orgChart1"/>
    <dgm:cxn modelId="{6E10178C-0F1C-4C74-A097-7175015B61C2}" srcId="{9F1C7B8B-DD53-4F6D-8E63-E79F23453F46}" destId="{0820406F-4DDC-487F-8279-DA504CC50FF5}" srcOrd="0" destOrd="0" parTransId="{C7FCC872-A13C-4590-9074-CDCB1900B9DC}" sibTransId="{D6F5F5FC-6DAB-467D-A02C-2DDCE24F78DF}"/>
    <dgm:cxn modelId="{8C1ACC9F-2E4E-44B9-AC79-91417069B96B}" type="presOf" srcId="{C6BBB3A8-EB32-4C4A-A73A-9C910AB7CDEF}" destId="{412B4602-40E7-422D-BA10-27D927423907}" srcOrd="0" destOrd="0" presId="urn:microsoft.com/office/officeart/2005/8/layout/orgChart1"/>
    <dgm:cxn modelId="{2D13B843-634E-40D8-B0AC-E14542FA84F2}" srcId="{02EEA6D5-1D89-47BB-B5B2-8EA9A7E8A8FC}" destId="{E4D02768-B05F-4F6C-98AD-AAFBD9F89EA1}" srcOrd="0" destOrd="0" parTransId="{BA14B2CF-E7C4-4254-A580-769D6BD84299}" sibTransId="{ABF2349F-4F4A-4221-B651-6E91E1C506C6}"/>
    <dgm:cxn modelId="{928A7D1B-80A9-47D2-84B1-749BCD2B36F7}" type="presParOf" srcId="{93434ED8-D96D-4FAA-B6AE-6562AAFD079F}" destId="{78E1F7D4-21FA-4D52-A1CD-23FF8A2533B7}" srcOrd="0" destOrd="0" presId="urn:microsoft.com/office/officeart/2005/8/layout/orgChart1"/>
    <dgm:cxn modelId="{2F0A2762-61BC-4FEA-957C-82033FA7895A}" type="presParOf" srcId="{78E1F7D4-21FA-4D52-A1CD-23FF8A2533B7}" destId="{06654386-1097-4C2F-ADA3-E274DEE3C925}" srcOrd="0" destOrd="0" presId="urn:microsoft.com/office/officeart/2005/8/layout/orgChart1"/>
    <dgm:cxn modelId="{AA7D4B3A-88E6-4E35-BA28-A1A24A3B4CFC}" type="presParOf" srcId="{06654386-1097-4C2F-ADA3-E274DEE3C925}" destId="{A49E9424-C44C-4FE9-A841-039F2B70A69D}" srcOrd="0" destOrd="0" presId="urn:microsoft.com/office/officeart/2005/8/layout/orgChart1"/>
    <dgm:cxn modelId="{BC2030D4-AD74-4EC6-BD12-6B9365191E35}" type="presParOf" srcId="{06654386-1097-4C2F-ADA3-E274DEE3C925}" destId="{429B8675-ABD7-42DB-82DD-F95CACE76BBE}" srcOrd="1" destOrd="0" presId="urn:microsoft.com/office/officeart/2005/8/layout/orgChart1"/>
    <dgm:cxn modelId="{2F3103BD-9938-46DC-A1C6-2275A495E6E8}" type="presParOf" srcId="{78E1F7D4-21FA-4D52-A1CD-23FF8A2533B7}" destId="{453A78DC-938E-42D4-BF89-05DA66C7C067}" srcOrd="1" destOrd="0" presId="urn:microsoft.com/office/officeart/2005/8/layout/orgChart1"/>
    <dgm:cxn modelId="{DB6D4192-CAEF-4943-859F-F74CE418339C}" type="presParOf" srcId="{453A78DC-938E-42D4-BF89-05DA66C7C067}" destId="{1F484FAC-A796-4C3D-A2AC-DF0257502C23}" srcOrd="0" destOrd="0" presId="urn:microsoft.com/office/officeart/2005/8/layout/orgChart1"/>
    <dgm:cxn modelId="{2B198AF1-3391-4E48-B522-3C1FF969F697}" type="presParOf" srcId="{453A78DC-938E-42D4-BF89-05DA66C7C067}" destId="{EB29C78D-0664-4D8E-AEBD-8AA7A1369B87}" srcOrd="1" destOrd="0" presId="urn:microsoft.com/office/officeart/2005/8/layout/orgChart1"/>
    <dgm:cxn modelId="{57B1BACC-1433-4A26-AADB-F4BA53C90501}" type="presParOf" srcId="{EB29C78D-0664-4D8E-AEBD-8AA7A1369B87}" destId="{F614DC3C-1C5A-4F4B-8BAA-53B1A45B6E1F}" srcOrd="0" destOrd="0" presId="urn:microsoft.com/office/officeart/2005/8/layout/orgChart1"/>
    <dgm:cxn modelId="{B771C65C-5E25-4B19-8AD0-A2F1ED94D578}" type="presParOf" srcId="{F614DC3C-1C5A-4F4B-8BAA-53B1A45B6E1F}" destId="{21628449-9170-4E59-BD8D-2EDA723B4752}" srcOrd="0" destOrd="0" presId="urn:microsoft.com/office/officeart/2005/8/layout/orgChart1"/>
    <dgm:cxn modelId="{44C80B93-C66F-4ED8-A402-53FD448C9549}" type="presParOf" srcId="{F614DC3C-1C5A-4F4B-8BAA-53B1A45B6E1F}" destId="{C81F5A6D-CEEB-4410-B873-86925AD000AC}" srcOrd="1" destOrd="0" presId="urn:microsoft.com/office/officeart/2005/8/layout/orgChart1"/>
    <dgm:cxn modelId="{40E63001-8257-4F88-9801-BE8817A7E090}" type="presParOf" srcId="{EB29C78D-0664-4D8E-AEBD-8AA7A1369B87}" destId="{56EB45A9-0AA7-45DA-B50C-5448673E2A39}" srcOrd="1" destOrd="0" presId="urn:microsoft.com/office/officeart/2005/8/layout/orgChart1"/>
    <dgm:cxn modelId="{481028D0-B1C3-472D-BE72-24B859ADC3A1}" type="presParOf" srcId="{56EB45A9-0AA7-45DA-B50C-5448673E2A39}" destId="{1473D2A0-5132-4E55-986B-DBBC4410F2B8}" srcOrd="0" destOrd="0" presId="urn:microsoft.com/office/officeart/2005/8/layout/orgChart1"/>
    <dgm:cxn modelId="{8EBC329B-D26B-4029-A207-77A41FDC89AB}" type="presParOf" srcId="{56EB45A9-0AA7-45DA-B50C-5448673E2A39}" destId="{B0E11E61-7E69-4BCF-ACDE-2D3DEF5E0879}" srcOrd="1" destOrd="0" presId="urn:microsoft.com/office/officeart/2005/8/layout/orgChart1"/>
    <dgm:cxn modelId="{C3780CA8-8E93-40B0-A4E2-385039E17CEC}" type="presParOf" srcId="{B0E11E61-7E69-4BCF-ACDE-2D3DEF5E0879}" destId="{8EB08525-9881-4C77-9A71-2A33E99F56CD}" srcOrd="0" destOrd="0" presId="urn:microsoft.com/office/officeart/2005/8/layout/orgChart1"/>
    <dgm:cxn modelId="{7907D710-C8D2-471E-ABA6-5355A390027F}" type="presParOf" srcId="{8EB08525-9881-4C77-9A71-2A33E99F56CD}" destId="{4A868E25-5A4C-401A-8C4B-46CD2A14A95E}" srcOrd="0" destOrd="0" presId="urn:microsoft.com/office/officeart/2005/8/layout/orgChart1"/>
    <dgm:cxn modelId="{F04841F0-D404-4E3B-ABE9-7B9EA34287CD}" type="presParOf" srcId="{8EB08525-9881-4C77-9A71-2A33E99F56CD}" destId="{5F97D85A-BD04-4417-8018-35A8569185E0}" srcOrd="1" destOrd="0" presId="urn:microsoft.com/office/officeart/2005/8/layout/orgChart1"/>
    <dgm:cxn modelId="{E677F519-2894-46F9-8C93-D6BABC1D91F2}" type="presParOf" srcId="{B0E11E61-7E69-4BCF-ACDE-2D3DEF5E0879}" destId="{8937D2AB-7C72-455C-BDC2-BEA16EFA14D3}" srcOrd="1" destOrd="0" presId="urn:microsoft.com/office/officeart/2005/8/layout/orgChart1"/>
    <dgm:cxn modelId="{8620EA83-A447-4A3E-B3D2-A55CEDA80C1A}" type="presParOf" srcId="{B0E11E61-7E69-4BCF-ACDE-2D3DEF5E0879}" destId="{4367C802-DBDA-46A7-94BE-17F6FFC4BE8D}" srcOrd="2" destOrd="0" presId="urn:microsoft.com/office/officeart/2005/8/layout/orgChart1"/>
    <dgm:cxn modelId="{292F54A0-3B71-4E09-8DAC-BED768FFCF96}" type="presParOf" srcId="{EB29C78D-0664-4D8E-AEBD-8AA7A1369B87}" destId="{89E4336D-7924-406B-B490-9C97C7F566D4}" srcOrd="2" destOrd="0" presId="urn:microsoft.com/office/officeart/2005/8/layout/orgChart1"/>
    <dgm:cxn modelId="{C84A15A3-BB4A-4BF7-8271-00C098F5A598}" type="presParOf" srcId="{453A78DC-938E-42D4-BF89-05DA66C7C067}" destId="{1D38E60F-6A58-4F3F-A7FF-385AC89023C2}" srcOrd="2" destOrd="0" presId="urn:microsoft.com/office/officeart/2005/8/layout/orgChart1"/>
    <dgm:cxn modelId="{4E76D9B0-1FDC-4E68-A523-4D778A4BBE19}" type="presParOf" srcId="{453A78DC-938E-42D4-BF89-05DA66C7C067}" destId="{75E8EDCA-5E6B-4B50-B83F-DD60079AD334}" srcOrd="3" destOrd="0" presId="urn:microsoft.com/office/officeart/2005/8/layout/orgChart1"/>
    <dgm:cxn modelId="{1A9EE93C-DDAC-4748-BFED-6A6C6877DD80}" type="presParOf" srcId="{75E8EDCA-5E6B-4B50-B83F-DD60079AD334}" destId="{933986FC-E232-4635-89ED-58534CBBCBDF}" srcOrd="0" destOrd="0" presId="urn:microsoft.com/office/officeart/2005/8/layout/orgChart1"/>
    <dgm:cxn modelId="{4CF9E235-E1C5-4D50-BDC9-8E6976372763}" type="presParOf" srcId="{933986FC-E232-4635-89ED-58534CBBCBDF}" destId="{6F8F6141-420E-4566-B412-B2EA3073D967}" srcOrd="0" destOrd="0" presId="urn:microsoft.com/office/officeart/2005/8/layout/orgChart1"/>
    <dgm:cxn modelId="{D8F34EB3-DB4D-4E59-85AB-56FB9794CA17}" type="presParOf" srcId="{933986FC-E232-4635-89ED-58534CBBCBDF}" destId="{3326C77D-8B66-4FC9-BFFB-EEBE2BBFB90C}" srcOrd="1" destOrd="0" presId="urn:microsoft.com/office/officeart/2005/8/layout/orgChart1"/>
    <dgm:cxn modelId="{25FA5F9A-20F3-4580-A988-BD903E8FAB56}" type="presParOf" srcId="{75E8EDCA-5E6B-4B50-B83F-DD60079AD334}" destId="{B138DC75-5894-4CE5-BA5E-660F36899592}" srcOrd="1" destOrd="0" presId="urn:microsoft.com/office/officeart/2005/8/layout/orgChart1"/>
    <dgm:cxn modelId="{3CA24BD8-18EF-46A2-AA9C-6FD061B8A3BB}" type="presParOf" srcId="{B138DC75-5894-4CE5-BA5E-660F36899592}" destId="{14660E34-824A-4EE3-A657-AD9162921DBB}" srcOrd="0" destOrd="0" presId="urn:microsoft.com/office/officeart/2005/8/layout/orgChart1"/>
    <dgm:cxn modelId="{E3D01126-A632-43D7-ADAC-08A607D2A7D1}" type="presParOf" srcId="{B138DC75-5894-4CE5-BA5E-660F36899592}" destId="{C1F9CEC2-70AC-4CD1-937D-E0C9E721291C}" srcOrd="1" destOrd="0" presId="urn:microsoft.com/office/officeart/2005/8/layout/orgChart1"/>
    <dgm:cxn modelId="{7A8056AA-12E4-4C71-8918-96E2990C2471}" type="presParOf" srcId="{C1F9CEC2-70AC-4CD1-937D-E0C9E721291C}" destId="{0B9F9E15-1A80-461B-8705-4E25B7C11992}" srcOrd="0" destOrd="0" presId="urn:microsoft.com/office/officeart/2005/8/layout/orgChart1"/>
    <dgm:cxn modelId="{0F834D80-1B48-4D07-A411-AD0E96ADD425}" type="presParOf" srcId="{0B9F9E15-1A80-461B-8705-4E25B7C11992}" destId="{412B4602-40E7-422D-BA10-27D927423907}" srcOrd="0" destOrd="0" presId="urn:microsoft.com/office/officeart/2005/8/layout/orgChart1"/>
    <dgm:cxn modelId="{8EDC730D-6701-42EF-9B96-0B870F398A99}" type="presParOf" srcId="{0B9F9E15-1A80-461B-8705-4E25B7C11992}" destId="{9331E0A5-5087-4B32-85B7-0E5E542798F7}" srcOrd="1" destOrd="0" presId="urn:microsoft.com/office/officeart/2005/8/layout/orgChart1"/>
    <dgm:cxn modelId="{8CE1D2CD-2F7C-4E22-92B0-9A4D2BD6B571}" type="presParOf" srcId="{C1F9CEC2-70AC-4CD1-937D-E0C9E721291C}" destId="{E77EB37F-CB86-4FA5-A373-5E1CC80B5DD7}" srcOrd="1" destOrd="0" presId="urn:microsoft.com/office/officeart/2005/8/layout/orgChart1"/>
    <dgm:cxn modelId="{DA0D1A77-53B6-4FD9-8F78-AE94C341AE04}" type="presParOf" srcId="{C1F9CEC2-70AC-4CD1-937D-E0C9E721291C}" destId="{DB165E79-379E-4476-815C-05E947A3EE1F}" srcOrd="2" destOrd="0" presId="urn:microsoft.com/office/officeart/2005/8/layout/orgChart1"/>
    <dgm:cxn modelId="{A6EF3E40-AE44-4AA8-9A28-FE69EA881179}" type="presParOf" srcId="{75E8EDCA-5E6B-4B50-B83F-DD60079AD334}" destId="{C07F8FBD-092A-4CDB-B96F-3AC0E2A0CFC8}" srcOrd="2" destOrd="0" presId="urn:microsoft.com/office/officeart/2005/8/layout/orgChart1"/>
    <dgm:cxn modelId="{E5BF0187-A858-4152-9DC7-358B4F3137E6}" type="presParOf" srcId="{453A78DC-938E-42D4-BF89-05DA66C7C067}" destId="{4C599A55-9F76-4430-838E-FDC4DFC00393}" srcOrd="4" destOrd="0" presId="urn:microsoft.com/office/officeart/2005/8/layout/orgChart1"/>
    <dgm:cxn modelId="{9B1FC8A5-C431-45D1-BC5F-A1CE2E8DFD79}" type="presParOf" srcId="{453A78DC-938E-42D4-BF89-05DA66C7C067}" destId="{27968FC6-31E2-4B5A-AA56-7211867E13DE}" srcOrd="5" destOrd="0" presId="urn:microsoft.com/office/officeart/2005/8/layout/orgChart1"/>
    <dgm:cxn modelId="{4EB7459D-2445-4BF2-AB9D-9D581A2C4945}" type="presParOf" srcId="{27968FC6-31E2-4B5A-AA56-7211867E13DE}" destId="{7605DC8E-4A2B-495E-B0B0-3D1D4FE37F6E}" srcOrd="0" destOrd="0" presId="urn:microsoft.com/office/officeart/2005/8/layout/orgChart1"/>
    <dgm:cxn modelId="{E039C3BA-7F74-4880-8565-35FB32923AF8}" type="presParOf" srcId="{7605DC8E-4A2B-495E-B0B0-3D1D4FE37F6E}" destId="{88002BEC-7B45-4985-A334-24BDA6CB0B52}" srcOrd="0" destOrd="0" presId="urn:microsoft.com/office/officeart/2005/8/layout/orgChart1"/>
    <dgm:cxn modelId="{55131346-2FB1-4093-B0BC-64E01D1CC543}" type="presParOf" srcId="{7605DC8E-4A2B-495E-B0B0-3D1D4FE37F6E}" destId="{1EB72BEF-1A24-4ADF-9BC6-594851FA222E}" srcOrd="1" destOrd="0" presId="urn:microsoft.com/office/officeart/2005/8/layout/orgChart1"/>
    <dgm:cxn modelId="{F5423745-46B2-4FB3-B448-C312EB67F648}" type="presParOf" srcId="{27968FC6-31E2-4B5A-AA56-7211867E13DE}" destId="{319F90D4-AC8D-4890-ABD7-EA03C603B185}" srcOrd="1" destOrd="0" presId="urn:microsoft.com/office/officeart/2005/8/layout/orgChart1"/>
    <dgm:cxn modelId="{2B20404A-E8B6-4B1C-A144-C574D975DE07}" type="presParOf" srcId="{319F90D4-AC8D-4890-ABD7-EA03C603B185}" destId="{2A0C8109-C329-4F52-92DE-DB2729BC7A36}" srcOrd="0" destOrd="0" presId="urn:microsoft.com/office/officeart/2005/8/layout/orgChart1"/>
    <dgm:cxn modelId="{E04C9667-96D2-4F04-BF42-0341B27924BC}" type="presParOf" srcId="{319F90D4-AC8D-4890-ABD7-EA03C603B185}" destId="{5DB73ED0-01A4-42B4-AE30-8A75A5163B5F}" srcOrd="1" destOrd="0" presId="urn:microsoft.com/office/officeart/2005/8/layout/orgChart1"/>
    <dgm:cxn modelId="{B836EF84-DB68-4570-9BA0-B3D463181D42}" type="presParOf" srcId="{5DB73ED0-01A4-42B4-AE30-8A75A5163B5F}" destId="{D85D58AC-727B-4051-A633-62E35A505F41}" srcOrd="0" destOrd="0" presId="urn:microsoft.com/office/officeart/2005/8/layout/orgChart1"/>
    <dgm:cxn modelId="{DBA115D3-D594-479D-A25B-AFDDBCFA9278}" type="presParOf" srcId="{D85D58AC-727B-4051-A633-62E35A505F41}" destId="{A4CE9E17-17B8-409C-9FBA-27613EFAC678}" srcOrd="0" destOrd="0" presId="urn:microsoft.com/office/officeart/2005/8/layout/orgChart1"/>
    <dgm:cxn modelId="{0CB8A24C-56E1-48C7-914E-7FCEAA655FF0}" type="presParOf" srcId="{D85D58AC-727B-4051-A633-62E35A505F41}" destId="{C9A28718-7461-465D-9859-8054854456B5}" srcOrd="1" destOrd="0" presId="urn:microsoft.com/office/officeart/2005/8/layout/orgChart1"/>
    <dgm:cxn modelId="{4E0A27ED-0074-43D8-A4E4-1B01F7E94C83}" type="presParOf" srcId="{5DB73ED0-01A4-42B4-AE30-8A75A5163B5F}" destId="{ECD95C20-A761-4D83-B3DC-23E08B35D2EE}" srcOrd="1" destOrd="0" presId="urn:microsoft.com/office/officeart/2005/8/layout/orgChart1"/>
    <dgm:cxn modelId="{5ECEF431-8660-48B0-9048-29505C76EE73}" type="presParOf" srcId="{5DB73ED0-01A4-42B4-AE30-8A75A5163B5F}" destId="{2A70A12E-D949-4D29-9811-3CCC4C016725}" srcOrd="2" destOrd="0" presId="urn:microsoft.com/office/officeart/2005/8/layout/orgChart1"/>
    <dgm:cxn modelId="{633E7BF3-E1AF-40A1-BBD4-8280A55DC543}" type="presParOf" srcId="{27968FC6-31E2-4B5A-AA56-7211867E13DE}" destId="{4CD3F736-1557-4047-AE06-F2B93B88251B}" srcOrd="2" destOrd="0" presId="urn:microsoft.com/office/officeart/2005/8/layout/orgChart1"/>
    <dgm:cxn modelId="{803563AB-09AE-4932-8B16-9142C4F0E83C}" type="presParOf" srcId="{453A78DC-938E-42D4-BF89-05DA66C7C067}" destId="{567412DE-B6E6-4EC2-A7A0-D7F290D49B16}" srcOrd="6" destOrd="0" presId="urn:microsoft.com/office/officeart/2005/8/layout/orgChart1"/>
    <dgm:cxn modelId="{4CD7CBE4-7733-4D7A-8C21-556D76D00D1D}" type="presParOf" srcId="{453A78DC-938E-42D4-BF89-05DA66C7C067}" destId="{532C10F4-808D-4888-9BD2-16643C508605}" srcOrd="7" destOrd="0" presId="urn:microsoft.com/office/officeart/2005/8/layout/orgChart1"/>
    <dgm:cxn modelId="{EF66D2A3-C927-4A65-BAEA-D40AEF551405}" type="presParOf" srcId="{532C10F4-808D-4888-9BD2-16643C508605}" destId="{4F2DD085-06C3-4464-AA63-E3C0F6E0D0ED}" srcOrd="0" destOrd="0" presId="urn:microsoft.com/office/officeart/2005/8/layout/orgChart1"/>
    <dgm:cxn modelId="{BE511F67-F211-40EF-B79F-675496285BD5}" type="presParOf" srcId="{4F2DD085-06C3-4464-AA63-E3C0F6E0D0ED}" destId="{3D110904-5138-4214-A098-E09403DE990C}" srcOrd="0" destOrd="0" presId="urn:microsoft.com/office/officeart/2005/8/layout/orgChart1"/>
    <dgm:cxn modelId="{EB6A641D-391D-4D1E-9479-218C434FC38D}" type="presParOf" srcId="{4F2DD085-06C3-4464-AA63-E3C0F6E0D0ED}" destId="{CBB35C11-DFA5-41D1-991F-A7C150764B91}" srcOrd="1" destOrd="0" presId="urn:microsoft.com/office/officeart/2005/8/layout/orgChart1"/>
    <dgm:cxn modelId="{51DE0EAC-4639-453C-8180-6312AE7F9C38}" type="presParOf" srcId="{532C10F4-808D-4888-9BD2-16643C508605}" destId="{2892AD85-353E-4250-8C85-953F2DBCC395}" srcOrd="1" destOrd="0" presId="urn:microsoft.com/office/officeart/2005/8/layout/orgChart1"/>
    <dgm:cxn modelId="{FA93F6E8-A177-41D0-8FDE-E12DFA91DEB9}" type="presParOf" srcId="{2892AD85-353E-4250-8C85-953F2DBCC395}" destId="{9C0A4607-0CF2-4170-A7CF-2CA5E2C599C3}" srcOrd="0" destOrd="0" presId="urn:microsoft.com/office/officeart/2005/8/layout/orgChart1"/>
    <dgm:cxn modelId="{2AD5457A-0DFF-43D4-865A-C7CD5BEFEA08}" type="presParOf" srcId="{2892AD85-353E-4250-8C85-953F2DBCC395}" destId="{C6AE1290-113E-4255-9F10-AC63D47A0C8E}" srcOrd="1" destOrd="0" presId="urn:microsoft.com/office/officeart/2005/8/layout/orgChart1"/>
    <dgm:cxn modelId="{CDFCA3CD-F4B6-4762-A19A-A9FE0DAB3A03}" type="presParOf" srcId="{C6AE1290-113E-4255-9F10-AC63D47A0C8E}" destId="{575EE86D-406F-4A66-90FF-3F2DC936DB5A}" srcOrd="0" destOrd="0" presId="urn:microsoft.com/office/officeart/2005/8/layout/orgChart1"/>
    <dgm:cxn modelId="{C63EAC10-F861-4915-AB28-D9DC63549509}" type="presParOf" srcId="{575EE86D-406F-4A66-90FF-3F2DC936DB5A}" destId="{B17BF896-E765-47D1-A2EF-82EE2746EC25}" srcOrd="0" destOrd="0" presId="urn:microsoft.com/office/officeart/2005/8/layout/orgChart1"/>
    <dgm:cxn modelId="{C8C3EDF5-5B5F-40BE-ADD2-1D36741955C1}" type="presParOf" srcId="{575EE86D-406F-4A66-90FF-3F2DC936DB5A}" destId="{8965FC6D-4444-4367-AE36-EA4B057BDB3A}" srcOrd="1" destOrd="0" presId="urn:microsoft.com/office/officeart/2005/8/layout/orgChart1"/>
    <dgm:cxn modelId="{A92D8D20-47FD-4E73-8663-8E9113CF9E8E}" type="presParOf" srcId="{C6AE1290-113E-4255-9F10-AC63D47A0C8E}" destId="{CA8BAE69-F64D-4D71-9179-87892742EC25}" srcOrd="1" destOrd="0" presId="urn:microsoft.com/office/officeart/2005/8/layout/orgChart1"/>
    <dgm:cxn modelId="{5582953C-288B-425F-9E4B-85EA3B2D2215}" type="presParOf" srcId="{C6AE1290-113E-4255-9F10-AC63D47A0C8E}" destId="{C6E4EE42-CF34-4EC0-AC76-90854AA59945}" srcOrd="2" destOrd="0" presId="urn:microsoft.com/office/officeart/2005/8/layout/orgChart1"/>
    <dgm:cxn modelId="{B37CD3EB-3235-405E-A34B-50C70FC54FAB}" type="presParOf" srcId="{532C10F4-808D-4888-9BD2-16643C508605}" destId="{4741D2E4-E9F6-4975-9400-710C50B8156B}" srcOrd="2" destOrd="0" presId="urn:microsoft.com/office/officeart/2005/8/layout/orgChart1"/>
    <dgm:cxn modelId="{9AE14139-BFD1-4B99-AF56-9D54B82D7525}" type="presParOf" srcId="{78E1F7D4-21FA-4D52-A1CD-23FF8A2533B7}" destId="{0AC0F58F-48B9-49DE-88AB-803300F312A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261676FF-90A0-4706-AB98-4B9AEDF8B671}" type="doc">
      <dgm:prSet loTypeId="urn:microsoft.com/office/officeart/2005/8/layout/orgChart1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8A3C54DE-D07E-41C0-A518-440AED73A106}">
      <dgm:prSet phldrT="[Текст]" custT="1"/>
      <dgm:spPr>
        <a:xfrm>
          <a:off x="2026311" y="39010"/>
          <a:ext cx="5513639" cy="370179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1600" b="1" kern="1200" dirty="0">
              <a:solidFill>
                <a:srgbClr val="C00000"/>
              </a:solidFill>
              <a:latin typeface="Arial Narrow" pitchFamily="34" charset="0"/>
              <a:ea typeface="+mn-ea"/>
              <a:cs typeface="Arial" pitchFamily="34" charset="0"/>
            </a:rPr>
            <a:t>Участие органов местного самоуправления </a:t>
          </a:r>
          <a:r>
            <a:rPr lang="ru-RU" sz="1600" b="1" kern="1200" dirty="0" smtClean="0">
              <a:solidFill>
                <a:srgbClr val="C00000"/>
              </a:solidFill>
              <a:latin typeface="Arial Narrow" pitchFamily="34" charset="0"/>
              <a:ea typeface="+mn-ea"/>
              <a:cs typeface="Arial" pitchFamily="34" charset="0"/>
            </a:rPr>
            <a:t> в </a:t>
          </a:r>
          <a:r>
            <a:rPr lang="ru-RU" sz="1600" b="1" kern="1200" dirty="0">
              <a:solidFill>
                <a:srgbClr val="C00000"/>
              </a:solidFill>
              <a:latin typeface="Arial Narrow" pitchFamily="34" charset="0"/>
              <a:ea typeface="+mn-ea"/>
              <a:cs typeface="Arial" pitchFamily="34" charset="0"/>
            </a:rPr>
            <a:t>реализации </a:t>
          </a:r>
          <a:r>
            <a:rPr lang="ru-RU" sz="1600" b="1" kern="1200" dirty="0" smtClean="0">
              <a:solidFill>
                <a:srgbClr val="C00000"/>
              </a:solidFill>
              <a:latin typeface="Arial Narrow" pitchFamily="34" charset="0"/>
              <a:ea typeface="+mn-ea"/>
              <a:cs typeface="Arial" pitchFamily="34" charset="0"/>
            </a:rPr>
            <a:t>региональных </a:t>
          </a:r>
          <a:r>
            <a:rPr lang="ru-RU" sz="1600" b="1" kern="1200" dirty="0">
              <a:solidFill>
                <a:srgbClr val="C00000"/>
              </a:solidFill>
              <a:latin typeface="Arial Narrow" pitchFamily="34" charset="0"/>
              <a:ea typeface="+mn-ea"/>
              <a:cs typeface="Arial" pitchFamily="34" charset="0"/>
            </a:rPr>
            <a:t>проектов </a:t>
          </a:r>
        </a:p>
      </dgm:t>
    </dgm:pt>
    <dgm:pt modelId="{B75431C4-1818-4A9D-9C0E-AC29B7314DB4}" type="parTrans" cxnId="{16D603E4-35B7-4E53-8A87-AD0DBE3A5B60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89D87C6D-9B8A-4C6C-80AF-C139DC6DB340}" type="sibTrans" cxnId="{16D603E4-35B7-4E53-8A87-AD0DBE3A5B60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8EE13F1B-E86A-48DC-BAF0-A71B13EA69DA}">
      <dgm:prSet phldrT="[Текст]" custT="1"/>
      <dgm:spPr>
        <a:xfrm>
          <a:off x="191600" y="715630"/>
          <a:ext cx="1623095" cy="378140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10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Координационный   совет </a:t>
          </a:r>
        </a:p>
      </dgm:t>
    </dgm:pt>
    <dgm:pt modelId="{8C331475-826E-4190-BEBC-E3FB2DCC84D3}" type="parTrans" cxnId="{82E162B1-0B5B-4FC4-8D9A-F54FE7E320AF}">
      <dgm:prSet/>
      <dgm:spPr>
        <a:xfrm>
          <a:off x="1003148" y="409189"/>
          <a:ext cx="3779982" cy="306440"/>
        </a:xfr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3E22301F-2DE8-4B88-AC3B-34057E85513E}" type="sibTrans" cxnId="{82E162B1-0B5B-4FC4-8D9A-F54FE7E320AF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0017E170-D8E6-4278-A20F-26D57B83E8F8}">
      <dgm:prSet phldrT="[Текст]" custT="1"/>
      <dgm:spPr>
        <a:xfrm>
          <a:off x="2523745" y="715630"/>
          <a:ext cx="1992268" cy="360262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10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оектные комитеты </a:t>
          </a:r>
        </a:p>
      </dgm:t>
    </dgm:pt>
    <dgm:pt modelId="{5C6A7ED4-59EB-4784-BB27-47DF022A4BEF}" type="parTrans" cxnId="{80056F68-0804-4B93-AED0-7A3322A4E7EE}">
      <dgm:prSet/>
      <dgm:spPr>
        <a:xfrm>
          <a:off x="3519880" y="409189"/>
          <a:ext cx="1263251" cy="306440"/>
        </a:xfr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31EA13D0-118B-4382-AFEC-2D26DF48F58A}" type="sibTrans" cxnId="{80056F68-0804-4B93-AED0-7A3322A4E7EE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CAF557A6-C151-4F12-8BC4-ADD668D5C95C}">
      <dgm:prSet custT="1"/>
      <dgm:spPr>
        <a:xfrm>
          <a:off x="191600" y="1250562"/>
          <a:ext cx="1623095" cy="374886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10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Глава муниципального образования</a:t>
          </a:r>
        </a:p>
      </dgm:t>
    </dgm:pt>
    <dgm:pt modelId="{52408BB1-AD26-4560-B63F-74B3324493DA}" type="parTrans" cxnId="{A7708BE8-61DE-467C-B66D-1451DF16131E}">
      <dgm:prSet/>
      <dgm:spPr>
        <a:xfrm>
          <a:off x="957428" y="1093771"/>
          <a:ext cx="91440" cy="156791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9EB406F1-AAAC-4E12-9E1D-6E35D23B9BD4}" type="sibTrans" cxnId="{A7708BE8-61DE-467C-B66D-1451DF16131E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991C6D19-C4FA-4B04-AEA5-F01943F1C5B0}">
      <dgm:prSet custT="1"/>
      <dgm:spPr>
        <a:xfrm>
          <a:off x="2155546" y="1223480"/>
          <a:ext cx="2728667" cy="371997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10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едставители муниципальных  образований</a:t>
          </a:r>
        </a:p>
      </dgm:t>
    </dgm:pt>
    <dgm:pt modelId="{E4C34A70-F6BE-4E0C-9C64-D328B042CA53}" type="parTrans" cxnId="{892E6000-37C1-4BAE-A9CD-64A78421E95A}">
      <dgm:prSet/>
      <dgm:spPr>
        <a:xfrm>
          <a:off x="3474160" y="1075892"/>
          <a:ext cx="91440" cy="147588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2BA5395C-2143-4058-A775-71C57A30C397}" type="sibTrans" cxnId="{892E6000-37C1-4BAE-A9CD-64A78421E95A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FF24164D-918D-4327-A20A-28E840AD4DC3}">
      <dgm:prSet custT="1"/>
      <dgm:spPr>
        <a:xfrm>
          <a:off x="260744" y="1842058"/>
          <a:ext cx="1484807" cy="3230285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9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Задачи Главы:</a:t>
          </a:r>
        </a:p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9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обеспечение   </a:t>
          </a:r>
        </a:p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9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1) учета организационных, экономических и иных особенностей муниципальных образований в ходе участия в проектной деятельности;</a:t>
          </a:r>
        </a:p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9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2) взаимодействия органов исполнительной власти субъектов РФ с органами </a:t>
          </a:r>
          <a:r>
            <a:rPr lang="ru-RU" sz="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МСУ </a:t>
          </a:r>
          <a:r>
            <a:rPr lang="ru-RU" sz="9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и реализации региональных проектов;</a:t>
          </a:r>
        </a:p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9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3) информирования граждан о реализации региональных проектов</a:t>
          </a:r>
        </a:p>
      </dgm:t>
    </dgm:pt>
    <dgm:pt modelId="{E31A9874-0E72-45E9-8C0F-0D200A8D296C}" type="parTrans" cxnId="{98CBE248-70B0-46ED-92E4-DACCB67CC33C}">
      <dgm:prSet/>
      <dgm:spPr>
        <a:xfrm>
          <a:off x="957428" y="1625448"/>
          <a:ext cx="91440" cy="216610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A5D6EB65-92B8-4CA6-8B60-327DCC82AE50}" type="sibTrans" cxnId="{98CBE248-70B0-46ED-92E4-DACCB67CC33C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7727A4E6-DF06-49C4-934C-D0849F55E345}">
      <dgm:prSet custT="1"/>
      <dgm:spPr>
        <a:xfrm>
          <a:off x="2140046" y="1848900"/>
          <a:ext cx="2759668" cy="4471433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300"/>
            </a:spcAft>
          </a:pPr>
          <a:r>
            <a:rPr lang="ru-RU" sz="10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Задачи представителей: </a:t>
          </a:r>
        </a:p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8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1) участие органов </a:t>
          </a:r>
          <a:r>
            <a:rPr lang="ru-RU" sz="8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МСУ, </a:t>
          </a:r>
          <a:r>
            <a:rPr lang="ru-RU" sz="8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являющихся предполагаемыми участниками регионального проекта, в подготовке паспорта регионального проекта;</a:t>
          </a:r>
        </a:p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8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2) учет позиции органов </a:t>
          </a:r>
          <a:r>
            <a:rPr lang="ru-RU" sz="8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МСУ  </a:t>
          </a:r>
          <a:r>
            <a:rPr lang="ru-RU" sz="8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и подготовке паспортов региональных проектов и их реализации;</a:t>
          </a:r>
        </a:p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8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6) осуществление </a:t>
          </a:r>
          <a:r>
            <a:rPr lang="ru-RU" sz="800" b="1" i="1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информирования граждан на регулярной основе</a:t>
          </a:r>
          <a:r>
            <a:rPr lang="ru-RU" sz="8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 о реализации региональных проектов, в </a:t>
          </a:r>
          <a:r>
            <a:rPr lang="ru-RU" sz="800" dirty="0" err="1" smtClean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т.ч</a:t>
          </a:r>
          <a:r>
            <a:rPr lang="ru-RU" sz="800" dirty="0" smtClean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. о  </a:t>
          </a:r>
          <a:r>
            <a:rPr lang="ru-RU" sz="8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планируемых</a:t>
          </a:r>
          <a:r>
            <a:rPr lang="ru-RU" sz="800" dirty="0" smtClean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, о </a:t>
          </a:r>
          <a:r>
            <a:rPr lang="ru-RU" sz="8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созданных,</a:t>
          </a:r>
        </a:p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8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 объектах и предоставляемых услугах на территориях муниципальных образований</a:t>
          </a:r>
        </a:p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8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3) учет </a:t>
          </a:r>
          <a:r>
            <a:rPr lang="ru-RU" sz="800" b="1" i="1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мнения и потребностей </a:t>
          </a:r>
          <a:r>
            <a:rPr lang="ru-RU" sz="8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(с учетом их приоритетов) населения территории муниципальных образований при реализации региональных проектов;</a:t>
          </a:r>
        </a:p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8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4) учет </a:t>
          </a:r>
          <a:r>
            <a:rPr lang="ru-RU" sz="800" b="1" i="1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востребованности</a:t>
          </a:r>
          <a:r>
            <a:rPr lang="ru-RU" sz="800" i="1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 </a:t>
          </a:r>
          <a:r>
            <a:rPr lang="ru-RU" sz="8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населением территории муниципальных образований объектов и услуг, полученных в рамках достижения результатов региональных проектов;</a:t>
          </a:r>
        </a:p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8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5) учет </a:t>
          </a:r>
          <a:r>
            <a:rPr lang="ru-RU" sz="800" b="1" i="1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удовлетворенности</a:t>
          </a:r>
          <a:r>
            <a:rPr lang="ru-RU" sz="800" i="1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 </a:t>
          </a:r>
          <a:r>
            <a:rPr lang="ru-RU" sz="8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населения территории муниципальных образований качеством функционирования созданных объектов и представления услуг, полученных в рамках региональных проектов</a:t>
          </a:r>
          <a:r>
            <a:rPr lang="ru-RU" sz="9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;</a:t>
          </a:r>
        </a:p>
      </dgm:t>
    </dgm:pt>
    <dgm:pt modelId="{C2D9B891-5E72-4432-93BD-9D9804685BC8}" type="parTrans" cxnId="{55A18E15-01F3-435A-974E-EBED9FA0F510}">
      <dgm:prSet/>
      <dgm:spPr>
        <a:xfrm>
          <a:off x="3474160" y="1595478"/>
          <a:ext cx="91440" cy="253422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FECC979A-F064-43F8-80E5-6950607F6C0B}" type="sibTrans" cxnId="{55A18E15-01F3-435A-974E-EBED9FA0F510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2400">
            <a:latin typeface="Arial" pitchFamily="34" charset="0"/>
            <a:cs typeface="Arial" pitchFamily="34" charset="0"/>
          </a:endParaRPr>
        </a:p>
      </dgm:t>
    </dgm:pt>
    <dgm:pt modelId="{C035ABF6-32BD-469C-8E35-5DF85D8AC62F}">
      <dgm:prSet custT="1"/>
      <dgm:spPr>
        <a:xfrm>
          <a:off x="5556354" y="1684375"/>
          <a:ext cx="1834585" cy="717034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10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Независимые представители общественных и деловых объединений, организаций и групп граждан муниципальных образований</a:t>
          </a:r>
        </a:p>
      </dgm:t>
    </dgm:pt>
    <dgm:pt modelId="{C66779C4-A1D5-4024-8D46-C9444F5834B8}" type="parTrans" cxnId="{E363A7BD-B130-401B-86C1-8DB95439CC87}">
      <dgm:prSet/>
      <dgm:spPr>
        <a:xfrm>
          <a:off x="6427926" y="1442598"/>
          <a:ext cx="91440" cy="241776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1050">
            <a:latin typeface="Arial" pitchFamily="34" charset="0"/>
            <a:cs typeface="Arial" pitchFamily="34" charset="0"/>
          </a:endParaRPr>
        </a:p>
      </dgm:t>
    </dgm:pt>
    <dgm:pt modelId="{92ED51C3-65A3-40BD-A8F8-637E8C709B79}" type="sibTrans" cxnId="{E363A7BD-B130-401B-86C1-8DB95439CC87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1050">
            <a:latin typeface="Arial" pitchFamily="34" charset="0"/>
            <a:cs typeface="Arial" pitchFamily="34" charset="0"/>
          </a:endParaRPr>
        </a:p>
      </dgm:t>
    </dgm:pt>
    <dgm:pt modelId="{CB79427C-ED2D-439F-BA36-5D3D46509334}">
      <dgm:prSet custT="1"/>
      <dgm:spPr>
        <a:xfrm>
          <a:off x="5545438" y="715630"/>
          <a:ext cx="1856480" cy="726968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10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бщественно-экспертные советы субъекта РФ</a:t>
          </a:r>
        </a:p>
      </dgm:t>
    </dgm:pt>
    <dgm:pt modelId="{E6F9E058-A91B-4AD8-BFBF-3ADB94CB0F3E}" type="parTrans" cxnId="{B105AD78-1BBC-46FA-9585-D4B8BA29091D}">
      <dgm:prSet/>
      <dgm:spPr>
        <a:xfrm>
          <a:off x="4783131" y="409189"/>
          <a:ext cx="1690547" cy="306440"/>
        </a:xfr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1050">
            <a:latin typeface="Arial" pitchFamily="34" charset="0"/>
            <a:cs typeface="Arial" pitchFamily="34" charset="0"/>
          </a:endParaRPr>
        </a:p>
      </dgm:t>
    </dgm:pt>
    <dgm:pt modelId="{2B3F9139-B814-4B3D-BBD3-798360E65E6B}" type="sibTrans" cxnId="{B105AD78-1BBC-46FA-9585-D4B8BA29091D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1050">
            <a:latin typeface="Arial" pitchFamily="34" charset="0"/>
            <a:cs typeface="Arial" pitchFamily="34" charset="0"/>
          </a:endParaRPr>
        </a:p>
      </dgm:t>
    </dgm:pt>
    <dgm:pt modelId="{3CFF7951-E55B-46BE-947C-CB9DD20B4C55}">
      <dgm:prSet custT="1"/>
      <dgm:spPr>
        <a:xfrm>
          <a:off x="7618548" y="715630"/>
          <a:ext cx="1861950" cy="696924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1000" b="1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Контрольные мероприятия, организованные региональным проектным офисом </a:t>
          </a:r>
        </a:p>
      </dgm:t>
    </dgm:pt>
    <dgm:pt modelId="{00B993CA-DC2A-4C0C-ADBE-37DC8526235E}" type="parTrans" cxnId="{7571C4B8-4231-421B-AA58-2CBF505277A0}">
      <dgm:prSet/>
      <dgm:spPr>
        <a:xfrm>
          <a:off x="4783131" y="409189"/>
          <a:ext cx="3766392" cy="306440"/>
        </a:xfr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1200">
            <a:latin typeface="Arial" pitchFamily="34" charset="0"/>
            <a:cs typeface="Arial" pitchFamily="34" charset="0"/>
          </a:endParaRPr>
        </a:p>
      </dgm:t>
    </dgm:pt>
    <dgm:pt modelId="{B59FE8BD-36AF-4933-88AC-1067B1569594}" type="sibTrans" cxnId="{7571C4B8-4231-421B-AA58-2CBF505277A0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1200">
            <a:latin typeface="Arial" pitchFamily="34" charset="0"/>
            <a:cs typeface="Arial" pitchFamily="34" charset="0"/>
          </a:endParaRPr>
        </a:p>
      </dgm:t>
    </dgm:pt>
    <dgm:pt modelId="{8C75DE3C-F274-42A2-A8C8-86DA30280C80}">
      <dgm:prSet custT="1"/>
      <dgm:spPr>
        <a:xfrm>
          <a:off x="7738663" y="1659639"/>
          <a:ext cx="1623095" cy="645107"/>
        </a:xfr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r>
            <a:rPr lang="ru-RU" sz="10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едставители   муниципальных                     образований</a:t>
          </a:r>
        </a:p>
      </dgm:t>
    </dgm:pt>
    <dgm:pt modelId="{DBA97D1E-F124-4A19-9FD3-D063F248604A}" type="parTrans" cxnId="{1161F884-C660-4056-A4AB-811577687F7E}">
      <dgm:prSet/>
      <dgm:spPr>
        <a:xfrm>
          <a:off x="8503803" y="1412555"/>
          <a:ext cx="91440" cy="247083"/>
        </a:xfr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1200">
            <a:latin typeface="Arial" pitchFamily="34" charset="0"/>
            <a:cs typeface="Arial" pitchFamily="34" charset="0"/>
          </a:endParaRPr>
        </a:p>
      </dgm:t>
    </dgm:pt>
    <dgm:pt modelId="{88FE15CE-5954-48EA-9468-FE93BAEEBD95}" type="sibTrans" cxnId="{1161F884-C660-4056-A4AB-811577687F7E}">
      <dgm:prSet/>
      <dgm:spPr/>
      <dgm:t>
        <a:bodyPr/>
        <a:lstStyle/>
        <a:p>
          <a:pPr algn="ctr">
            <a:spcBef>
              <a:spcPts val="0"/>
            </a:spcBef>
            <a:spcAft>
              <a:spcPts val="600"/>
            </a:spcAft>
          </a:pPr>
          <a:endParaRPr lang="ru-RU" sz="1200">
            <a:latin typeface="Arial" pitchFamily="34" charset="0"/>
            <a:cs typeface="Arial" pitchFamily="34" charset="0"/>
          </a:endParaRPr>
        </a:p>
      </dgm:t>
    </dgm:pt>
    <dgm:pt modelId="{78664118-1AA0-4AAF-8858-A5D2B11EAEED}" type="pres">
      <dgm:prSet presAssocID="{261676FF-90A0-4706-AB98-4B9AEDF8B671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299C7BE5-1629-47D5-B18E-C33CF57C8C75}" type="pres">
      <dgm:prSet presAssocID="{8A3C54DE-D07E-41C0-A518-440AED73A106}" presName="hierRoot1" presStyleCnt="0">
        <dgm:presLayoutVars>
          <dgm:hierBranch/>
        </dgm:presLayoutVars>
      </dgm:prSet>
      <dgm:spPr/>
    </dgm:pt>
    <dgm:pt modelId="{C3540E58-A51C-4A7F-905E-7097019A7B6D}" type="pres">
      <dgm:prSet presAssocID="{8A3C54DE-D07E-41C0-A518-440AED73A106}" presName="rootComposite1" presStyleCnt="0"/>
      <dgm:spPr/>
    </dgm:pt>
    <dgm:pt modelId="{26E5F850-201D-42D6-B7D6-F632772FA4A5}" type="pres">
      <dgm:prSet presAssocID="{8A3C54DE-D07E-41C0-A518-440AED73A106}" presName="rootText1" presStyleLbl="node0" presStyleIdx="0" presStyleCnt="1" custScaleX="640784" custScaleY="61515" custLinFactNeighborX="8335" custLinFactNeighborY="397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495E5A9-F379-4219-8BBC-8BB2BA18A0E7}" type="pres">
      <dgm:prSet presAssocID="{8A3C54DE-D07E-41C0-A518-440AED73A106}" presName="rootConnector1" presStyleLbl="node1" presStyleIdx="0" presStyleCnt="0"/>
      <dgm:spPr/>
      <dgm:t>
        <a:bodyPr/>
        <a:lstStyle/>
        <a:p>
          <a:endParaRPr lang="ru-RU"/>
        </a:p>
      </dgm:t>
    </dgm:pt>
    <dgm:pt modelId="{E7A6EC15-6CDD-4FC2-A434-6AC3020DEBE1}" type="pres">
      <dgm:prSet presAssocID="{8A3C54DE-D07E-41C0-A518-440AED73A106}" presName="hierChild2" presStyleCnt="0"/>
      <dgm:spPr/>
    </dgm:pt>
    <dgm:pt modelId="{934B0FAC-C5E5-4962-8D56-4584135529D9}" type="pres">
      <dgm:prSet presAssocID="{8C331475-826E-4190-BEBC-E3FB2DCC84D3}" presName="Name35" presStyleLbl="parChTrans1D2" presStyleIdx="0" presStyleCnt="4"/>
      <dgm:spPr>
        <a:custGeom>
          <a:avLst/>
          <a:gdLst/>
          <a:ahLst/>
          <a:cxnLst/>
          <a:rect l="0" t="0" r="0" b="0"/>
          <a:pathLst>
            <a:path>
              <a:moveTo>
                <a:pt x="3779982" y="0"/>
              </a:moveTo>
              <a:lnTo>
                <a:pt x="3779982" y="136015"/>
              </a:lnTo>
              <a:lnTo>
                <a:pt x="0" y="136015"/>
              </a:lnTo>
              <a:lnTo>
                <a:pt x="0" y="306440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9596A639-8371-44E1-9FC7-950BDF3DE4B3}" type="pres">
      <dgm:prSet presAssocID="{8EE13F1B-E86A-48DC-BAF0-A71B13EA69DA}" presName="hierRoot2" presStyleCnt="0">
        <dgm:presLayoutVars>
          <dgm:hierBranch/>
        </dgm:presLayoutVars>
      </dgm:prSet>
      <dgm:spPr/>
    </dgm:pt>
    <dgm:pt modelId="{3A141B79-BC18-4508-B648-DF8EFF5477B0}" type="pres">
      <dgm:prSet presAssocID="{8EE13F1B-E86A-48DC-BAF0-A71B13EA69DA}" presName="rootComposite" presStyleCnt="0"/>
      <dgm:spPr/>
    </dgm:pt>
    <dgm:pt modelId="{9328D671-9D3C-48EB-8E1E-A5EC5B79E8E3}" type="pres">
      <dgm:prSet presAssocID="{8EE13F1B-E86A-48DC-BAF0-A71B13EA69DA}" presName="rootText" presStyleLbl="node2" presStyleIdx="0" presStyleCnt="4" custScaleX="170799" custScaleY="67916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C9CE4DF-33CE-43D8-AD8A-04CB617FFB44}" type="pres">
      <dgm:prSet presAssocID="{8EE13F1B-E86A-48DC-BAF0-A71B13EA69DA}" presName="rootConnector" presStyleLbl="node2" presStyleIdx="0" presStyleCnt="4"/>
      <dgm:spPr/>
      <dgm:t>
        <a:bodyPr/>
        <a:lstStyle/>
        <a:p>
          <a:endParaRPr lang="ru-RU"/>
        </a:p>
      </dgm:t>
    </dgm:pt>
    <dgm:pt modelId="{E7AF6350-B36B-4C47-B810-BC753355C596}" type="pres">
      <dgm:prSet presAssocID="{8EE13F1B-E86A-48DC-BAF0-A71B13EA69DA}" presName="hierChild4" presStyleCnt="0"/>
      <dgm:spPr/>
    </dgm:pt>
    <dgm:pt modelId="{9EAC763E-2872-430E-9AA3-F44BDF41CDA0}" type="pres">
      <dgm:prSet presAssocID="{52408BB1-AD26-4560-B63F-74B3324493DA}" presName="Name35" presStyleLbl="parChTrans1D3" presStyleIdx="0" presStyleCnt="4"/>
      <dgm:spPr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56791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8AB5ADDB-D301-4FA3-9775-56C021D7C32D}" type="pres">
      <dgm:prSet presAssocID="{CAF557A6-C151-4F12-8BC4-ADD668D5C95C}" presName="hierRoot2" presStyleCnt="0">
        <dgm:presLayoutVars>
          <dgm:hierBranch/>
        </dgm:presLayoutVars>
      </dgm:prSet>
      <dgm:spPr/>
    </dgm:pt>
    <dgm:pt modelId="{FDB02D2B-B67C-4DCB-9A3B-A56F5A7ABE81}" type="pres">
      <dgm:prSet presAssocID="{CAF557A6-C151-4F12-8BC4-ADD668D5C95C}" presName="rootComposite" presStyleCnt="0"/>
      <dgm:spPr/>
    </dgm:pt>
    <dgm:pt modelId="{D2671C8C-67C9-44C2-B2AB-7E0C648FA84A}" type="pres">
      <dgm:prSet presAssocID="{CAF557A6-C151-4F12-8BC4-ADD668D5C95C}" presName="rootText" presStyleLbl="node3" presStyleIdx="0" presStyleCnt="4" custScaleX="149753" custScaleY="66126" custLinFactNeighborY="-22680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3C5BFA98-FE36-47CF-B12E-4701A115E960}" type="pres">
      <dgm:prSet presAssocID="{CAF557A6-C151-4F12-8BC4-ADD668D5C95C}" presName="rootConnector" presStyleLbl="node3" presStyleIdx="0" presStyleCnt="4"/>
      <dgm:spPr/>
      <dgm:t>
        <a:bodyPr/>
        <a:lstStyle/>
        <a:p>
          <a:endParaRPr lang="ru-RU"/>
        </a:p>
      </dgm:t>
    </dgm:pt>
    <dgm:pt modelId="{D294ECF2-49CF-4177-9610-CB13B99A4284}" type="pres">
      <dgm:prSet presAssocID="{CAF557A6-C151-4F12-8BC4-ADD668D5C95C}" presName="hierChild4" presStyleCnt="0"/>
      <dgm:spPr/>
    </dgm:pt>
    <dgm:pt modelId="{703B9796-73EB-4B8F-A12C-A0BBE35093A0}" type="pres">
      <dgm:prSet presAssocID="{E31A9874-0E72-45E9-8C0F-0D200A8D296C}" presName="Name35" presStyleLbl="parChTrans1D4" presStyleIdx="0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6610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7F75B310-FC5C-4692-8FB5-F89D94C11724}" type="pres">
      <dgm:prSet presAssocID="{FF24164D-918D-4327-A20A-28E840AD4DC3}" presName="hierRoot2" presStyleCnt="0">
        <dgm:presLayoutVars>
          <dgm:hierBranch val="init"/>
        </dgm:presLayoutVars>
      </dgm:prSet>
      <dgm:spPr/>
    </dgm:pt>
    <dgm:pt modelId="{2A475520-863F-4B2A-9214-D2256BE5BB6B}" type="pres">
      <dgm:prSet presAssocID="{FF24164D-918D-4327-A20A-28E840AD4DC3}" presName="rootComposite" presStyleCnt="0"/>
      <dgm:spPr/>
    </dgm:pt>
    <dgm:pt modelId="{92072A02-4DDA-407D-99CC-8540E7D96173}" type="pres">
      <dgm:prSet presAssocID="{FF24164D-918D-4327-A20A-28E840AD4DC3}" presName="rootText" presStyleLbl="node4" presStyleIdx="0" presStyleCnt="2" custScaleX="151914" custScaleY="543586" custLinFactNeighborY="-37989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E09D7214-374D-49F7-B29D-CDA7D58754CD}" type="pres">
      <dgm:prSet presAssocID="{FF24164D-918D-4327-A20A-28E840AD4DC3}" presName="rootConnector" presStyleLbl="node4" presStyleIdx="0" presStyleCnt="2"/>
      <dgm:spPr/>
      <dgm:t>
        <a:bodyPr/>
        <a:lstStyle/>
        <a:p>
          <a:endParaRPr lang="ru-RU"/>
        </a:p>
      </dgm:t>
    </dgm:pt>
    <dgm:pt modelId="{0D4CF047-DFA8-47B4-B395-579B0407CDBC}" type="pres">
      <dgm:prSet presAssocID="{FF24164D-918D-4327-A20A-28E840AD4DC3}" presName="hierChild4" presStyleCnt="0"/>
      <dgm:spPr/>
    </dgm:pt>
    <dgm:pt modelId="{0FCBB2CE-5B21-4A5E-B615-EFBFDD7A4FE8}" type="pres">
      <dgm:prSet presAssocID="{FF24164D-918D-4327-A20A-28E840AD4DC3}" presName="hierChild5" presStyleCnt="0"/>
      <dgm:spPr/>
    </dgm:pt>
    <dgm:pt modelId="{A6FEC3C1-3CAB-4182-BEAF-0329EB979B98}" type="pres">
      <dgm:prSet presAssocID="{CAF557A6-C151-4F12-8BC4-ADD668D5C95C}" presName="hierChild5" presStyleCnt="0"/>
      <dgm:spPr/>
    </dgm:pt>
    <dgm:pt modelId="{05525B68-A93B-4D6C-8DB5-7DCE3AC82504}" type="pres">
      <dgm:prSet presAssocID="{8EE13F1B-E86A-48DC-BAF0-A71B13EA69DA}" presName="hierChild5" presStyleCnt="0"/>
      <dgm:spPr/>
    </dgm:pt>
    <dgm:pt modelId="{4067E8A3-7CD4-4538-B615-D8F5CE86D69E}" type="pres">
      <dgm:prSet presAssocID="{5C6A7ED4-59EB-4784-BB27-47DF022A4BEF}" presName="Name35" presStyleLbl="parChTrans1D2" presStyleIdx="1" presStyleCnt="4"/>
      <dgm:spPr>
        <a:custGeom>
          <a:avLst/>
          <a:gdLst/>
          <a:ahLst/>
          <a:cxnLst/>
          <a:rect l="0" t="0" r="0" b="0"/>
          <a:pathLst>
            <a:path>
              <a:moveTo>
                <a:pt x="1263251" y="0"/>
              </a:moveTo>
              <a:lnTo>
                <a:pt x="1263251" y="136015"/>
              </a:lnTo>
              <a:lnTo>
                <a:pt x="0" y="136015"/>
              </a:lnTo>
              <a:lnTo>
                <a:pt x="0" y="306440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B40EE611-2A0B-40B8-AEA1-7063B92BCBD9}" type="pres">
      <dgm:prSet presAssocID="{0017E170-D8E6-4278-A20F-26D57B83E8F8}" presName="hierRoot2" presStyleCnt="0">
        <dgm:presLayoutVars>
          <dgm:hierBranch/>
        </dgm:presLayoutVars>
      </dgm:prSet>
      <dgm:spPr/>
    </dgm:pt>
    <dgm:pt modelId="{9890CF5B-53EB-4631-9FA7-429198BD96B6}" type="pres">
      <dgm:prSet presAssocID="{0017E170-D8E6-4278-A20F-26D57B83E8F8}" presName="rootComposite" presStyleCnt="0"/>
      <dgm:spPr/>
    </dgm:pt>
    <dgm:pt modelId="{0D9A319C-D817-4991-BDB4-74E7A38A7789}" type="pres">
      <dgm:prSet presAssocID="{0017E170-D8E6-4278-A20F-26D57B83E8F8}" presName="rootText" presStyleLbl="node2" presStyleIdx="1" presStyleCnt="4" custScaleX="232380" custScaleY="6435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44BCD7E9-0BAF-4F73-9EC6-F0516B7490FC}" type="pres">
      <dgm:prSet presAssocID="{0017E170-D8E6-4278-A20F-26D57B83E8F8}" presName="rootConnector" presStyleLbl="node2" presStyleIdx="1" presStyleCnt="4"/>
      <dgm:spPr/>
      <dgm:t>
        <a:bodyPr/>
        <a:lstStyle/>
        <a:p>
          <a:endParaRPr lang="ru-RU"/>
        </a:p>
      </dgm:t>
    </dgm:pt>
    <dgm:pt modelId="{7B0B0FA4-0CE5-4D7C-9224-149C6A5363C5}" type="pres">
      <dgm:prSet presAssocID="{0017E170-D8E6-4278-A20F-26D57B83E8F8}" presName="hierChild4" presStyleCnt="0"/>
      <dgm:spPr/>
    </dgm:pt>
    <dgm:pt modelId="{C00066F9-0EC3-4F7B-895A-2EFF1C74F2B1}" type="pres">
      <dgm:prSet presAssocID="{E4C34A70-F6BE-4E0C-9C64-D328B042CA53}" presName="Name35" presStyleLbl="parChTrans1D3" presStyleIdx="1" presStyleCnt="4"/>
      <dgm:spPr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7588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9D2FC44C-B724-4337-AE5F-15F39673081D}" type="pres">
      <dgm:prSet presAssocID="{991C6D19-C4FA-4B04-AEA5-F01943F1C5B0}" presName="hierRoot2" presStyleCnt="0">
        <dgm:presLayoutVars>
          <dgm:hierBranch/>
        </dgm:presLayoutVars>
      </dgm:prSet>
      <dgm:spPr/>
    </dgm:pt>
    <dgm:pt modelId="{A43AF74E-77FA-4709-B3B4-910966238AE4}" type="pres">
      <dgm:prSet presAssocID="{991C6D19-C4FA-4B04-AEA5-F01943F1C5B0}" presName="rootComposite" presStyleCnt="0"/>
      <dgm:spPr/>
    </dgm:pt>
    <dgm:pt modelId="{BBA4C7FD-E5C2-4DFC-99E9-437CF1ADA314}" type="pres">
      <dgm:prSet presAssocID="{991C6D19-C4FA-4B04-AEA5-F01943F1C5B0}" presName="rootText" presStyleLbl="node3" presStyleIdx="1" presStyleCnt="4" custScaleX="237689" custScaleY="70240" custLinFactNeighborY="-23814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D1D5CAC4-51EE-45F1-84B5-FFF1EEAD2B6F}" type="pres">
      <dgm:prSet presAssocID="{991C6D19-C4FA-4B04-AEA5-F01943F1C5B0}" presName="rootConnector" presStyleLbl="node3" presStyleIdx="1" presStyleCnt="4"/>
      <dgm:spPr/>
      <dgm:t>
        <a:bodyPr/>
        <a:lstStyle/>
        <a:p>
          <a:endParaRPr lang="ru-RU"/>
        </a:p>
      </dgm:t>
    </dgm:pt>
    <dgm:pt modelId="{CF0E200D-6C39-4EED-A845-0E7C68628BCB}" type="pres">
      <dgm:prSet presAssocID="{991C6D19-C4FA-4B04-AEA5-F01943F1C5B0}" presName="hierChild4" presStyleCnt="0"/>
      <dgm:spPr/>
    </dgm:pt>
    <dgm:pt modelId="{593E5036-8C27-43BD-A98D-53D43EF800CA}" type="pres">
      <dgm:prSet presAssocID="{C2D9B891-5E72-4432-93BD-9D9804685BC8}" presName="Name35" presStyleLbl="parChTrans1D4" presStyleIdx="1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3422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90AF083F-04CE-4CDB-B0D1-2963C66357C8}" type="pres">
      <dgm:prSet presAssocID="{7727A4E6-DF06-49C4-934C-D0849F55E345}" presName="hierRoot2" presStyleCnt="0">
        <dgm:presLayoutVars>
          <dgm:hierBranch val="init"/>
        </dgm:presLayoutVars>
      </dgm:prSet>
      <dgm:spPr/>
    </dgm:pt>
    <dgm:pt modelId="{D4D08BAD-CD2F-4C46-B390-FD201CA7DB49}" type="pres">
      <dgm:prSet presAssocID="{7727A4E6-DF06-49C4-934C-D0849F55E345}" presName="rootComposite" presStyleCnt="0"/>
      <dgm:spPr/>
    </dgm:pt>
    <dgm:pt modelId="{B440F3C3-5D23-4E7C-AC52-149F909FC78E}" type="pres">
      <dgm:prSet presAssocID="{7727A4E6-DF06-49C4-934C-D0849F55E345}" presName="rootText" presStyleLbl="node4" presStyleIdx="1" presStyleCnt="2" custScaleX="242474" custScaleY="550976" custLinFactNeighborY="-34587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181E4F33-7C45-4ADD-88DE-F32304B102B0}" type="pres">
      <dgm:prSet presAssocID="{7727A4E6-DF06-49C4-934C-D0849F55E345}" presName="rootConnector" presStyleLbl="node4" presStyleIdx="1" presStyleCnt="2"/>
      <dgm:spPr/>
      <dgm:t>
        <a:bodyPr/>
        <a:lstStyle/>
        <a:p>
          <a:endParaRPr lang="ru-RU"/>
        </a:p>
      </dgm:t>
    </dgm:pt>
    <dgm:pt modelId="{6E62BEF7-B5E8-46EF-BFD1-2886A3F0F4C5}" type="pres">
      <dgm:prSet presAssocID="{7727A4E6-DF06-49C4-934C-D0849F55E345}" presName="hierChild4" presStyleCnt="0"/>
      <dgm:spPr/>
    </dgm:pt>
    <dgm:pt modelId="{11F7ED27-0335-4CC6-9BEB-FB419C5988BA}" type="pres">
      <dgm:prSet presAssocID="{7727A4E6-DF06-49C4-934C-D0849F55E345}" presName="hierChild5" presStyleCnt="0"/>
      <dgm:spPr/>
    </dgm:pt>
    <dgm:pt modelId="{C9611B70-475A-4504-8BB5-165ED91A2549}" type="pres">
      <dgm:prSet presAssocID="{991C6D19-C4FA-4B04-AEA5-F01943F1C5B0}" presName="hierChild5" presStyleCnt="0"/>
      <dgm:spPr/>
    </dgm:pt>
    <dgm:pt modelId="{5F303DF1-A8A6-472E-8673-1E26227EC56A}" type="pres">
      <dgm:prSet presAssocID="{0017E170-D8E6-4278-A20F-26D57B83E8F8}" presName="hierChild5" presStyleCnt="0"/>
      <dgm:spPr/>
    </dgm:pt>
    <dgm:pt modelId="{C38C0D3E-002F-4A5D-8F03-BDA866C32184}" type="pres">
      <dgm:prSet presAssocID="{E6F9E058-A91B-4AD8-BFBF-3ADB94CB0F3E}" presName="Name35" presStyleLbl="parChTrans1D2" presStyleIdx="2" presStyleCnt="4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15"/>
              </a:lnTo>
              <a:lnTo>
                <a:pt x="1690547" y="136015"/>
              </a:lnTo>
              <a:lnTo>
                <a:pt x="1690547" y="306440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5CBC6E51-C97F-4C9C-A26C-84FDFE704548}" type="pres">
      <dgm:prSet presAssocID="{CB79427C-ED2D-439F-BA36-5D3D46509334}" presName="hierRoot2" presStyleCnt="0">
        <dgm:presLayoutVars>
          <dgm:hierBranch/>
        </dgm:presLayoutVars>
      </dgm:prSet>
      <dgm:spPr/>
    </dgm:pt>
    <dgm:pt modelId="{623A998D-8DCB-4A6D-8AC4-656EDD9CB6F9}" type="pres">
      <dgm:prSet presAssocID="{CB79427C-ED2D-439F-BA36-5D3D46509334}" presName="rootComposite" presStyleCnt="0"/>
      <dgm:spPr/>
    </dgm:pt>
    <dgm:pt modelId="{13ACBB32-74ED-45A3-8795-677A7BF953AF}" type="pres">
      <dgm:prSet presAssocID="{CB79427C-ED2D-439F-BA36-5D3D46509334}" presName="rootText" presStyleLbl="node2" presStyleIdx="2" presStyleCnt="4" custScaleX="145840" custScaleY="89578" custLinFactNeighborX="-1134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6B76D25B-0117-4C4B-8DF4-9A9D80787665}" type="pres">
      <dgm:prSet presAssocID="{CB79427C-ED2D-439F-BA36-5D3D46509334}" presName="rootConnector" presStyleLbl="node2" presStyleIdx="2" presStyleCnt="4"/>
      <dgm:spPr/>
      <dgm:t>
        <a:bodyPr/>
        <a:lstStyle/>
        <a:p>
          <a:endParaRPr lang="ru-RU"/>
        </a:p>
      </dgm:t>
    </dgm:pt>
    <dgm:pt modelId="{B976C4BA-F4A6-4354-B823-A9B07EC59470}" type="pres">
      <dgm:prSet presAssocID="{CB79427C-ED2D-439F-BA36-5D3D46509334}" presName="hierChild4" presStyleCnt="0"/>
      <dgm:spPr/>
    </dgm:pt>
    <dgm:pt modelId="{3C7D8733-70A9-4182-99B5-E8CA1CDE0332}" type="pres">
      <dgm:prSet presAssocID="{C66779C4-A1D5-4024-8D46-C9444F5834B8}" presName="Name35" presStyleLbl="parChTrans1D3" presStyleIdx="2" presStyleCnt="4"/>
      <dgm:spPr>
        <a:custGeom>
          <a:avLst/>
          <a:gdLst/>
          <a:ahLst/>
          <a:cxnLst/>
          <a:rect l="0" t="0" r="0" b="0"/>
          <a:pathLst>
            <a:path>
              <a:moveTo>
                <a:pt x="45752" y="0"/>
              </a:moveTo>
              <a:lnTo>
                <a:pt x="45752" y="71351"/>
              </a:lnTo>
              <a:lnTo>
                <a:pt x="45720" y="71351"/>
              </a:lnTo>
              <a:lnTo>
                <a:pt x="45720" y="241776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8667D5F4-AAD6-4F80-A3E5-492E6E489282}" type="pres">
      <dgm:prSet presAssocID="{C035ABF6-32BD-469C-8E35-5DF85D8AC62F}" presName="hierRoot2" presStyleCnt="0">
        <dgm:presLayoutVars>
          <dgm:hierBranch/>
        </dgm:presLayoutVars>
      </dgm:prSet>
      <dgm:spPr/>
    </dgm:pt>
    <dgm:pt modelId="{69FE6102-CD2C-4C3E-AB12-A2DCB0F66523}" type="pres">
      <dgm:prSet presAssocID="{C035ABF6-32BD-469C-8E35-5DF85D8AC62F}" presName="rootComposite" presStyleCnt="0"/>
      <dgm:spPr/>
    </dgm:pt>
    <dgm:pt modelId="{296591D2-9536-4319-93C2-42F621422199}" type="pres">
      <dgm:prSet presAssocID="{C035ABF6-32BD-469C-8E35-5DF85D8AC62F}" presName="rootText" presStyleLbl="node3" presStyleIdx="2" presStyleCnt="4" custScaleX="145207" custScaleY="208173" custLinFactNeighborX="2608" custLinFactNeighborY="-1220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6C37F8BC-9A03-4C25-95F4-7F5AAA4196AE}" type="pres">
      <dgm:prSet presAssocID="{C035ABF6-32BD-469C-8E35-5DF85D8AC62F}" presName="rootConnector" presStyleLbl="node3" presStyleIdx="2" presStyleCnt="4"/>
      <dgm:spPr/>
      <dgm:t>
        <a:bodyPr/>
        <a:lstStyle/>
        <a:p>
          <a:endParaRPr lang="ru-RU"/>
        </a:p>
      </dgm:t>
    </dgm:pt>
    <dgm:pt modelId="{18359D78-DE1F-4723-B982-1AA0D9FB525B}" type="pres">
      <dgm:prSet presAssocID="{C035ABF6-32BD-469C-8E35-5DF85D8AC62F}" presName="hierChild4" presStyleCnt="0"/>
      <dgm:spPr/>
    </dgm:pt>
    <dgm:pt modelId="{B91E105D-365C-448A-8419-D4F586E136D4}" type="pres">
      <dgm:prSet presAssocID="{C035ABF6-32BD-469C-8E35-5DF85D8AC62F}" presName="hierChild5" presStyleCnt="0"/>
      <dgm:spPr/>
    </dgm:pt>
    <dgm:pt modelId="{7DD36AD9-DAC5-476B-B201-29551EDD7F60}" type="pres">
      <dgm:prSet presAssocID="{CB79427C-ED2D-439F-BA36-5D3D46509334}" presName="hierChild5" presStyleCnt="0"/>
      <dgm:spPr/>
    </dgm:pt>
    <dgm:pt modelId="{E04BAF1A-F6F6-4CE0-9C39-5A9EDDF3E28D}" type="pres">
      <dgm:prSet presAssocID="{00B993CA-DC2A-4C0C-ADBE-37DC8526235E}" presName="Name35" presStyleLbl="parChTrans1D2" presStyleIdx="3" presStyleCnt="4"/>
      <dgm:spPr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15"/>
              </a:lnTo>
              <a:lnTo>
                <a:pt x="3766392" y="136015"/>
              </a:lnTo>
              <a:lnTo>
                <a:pt x="3766392" y="306440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45D743E8-552D-450F-B188-F9AB9485CCCD}" type="pres">
      <dgm:prSet presAssocID="{3CFF7951-E55B-46BE-947C-CB9DD20B4C55}" presName="hierRoot2" presStyleCnt="0">
        <dgm:presLayoutVars>
          <dgm:hierBranch/>
        </dgm:presLayoutVars>
      </dgm:prSet>
      <dgm:spPr/>
    </dgm:pt>
    <dgm:pt modelId="{2B174986-B470-41F7-A56F-1C73818EBCA3}" type="pres">
      <dgm:prSet presAssocID="{3CFF7951-E55B-46BE-947C-CB9DD20B4C55}" presName="rootComposite" presStyleCnt="0"/>
      <dgm:spPr/>
    </dgm:pt>
    <dgm:pt modelId="{3C116627-DEF8-4980-AFCE-C4A29080FCF3}" type="pres">
      <dgm:prSet presAssocID="{3CFF7951-E55B-46BE-947C-CB9DD20B4C55}" presName="rootText" presStyleLbl="node2" presStyleIdx="3" presStyleCnt="4" custScaleX="135881" custScaleY="151509" custLinFactNeighborX="17388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B5F6E3C9-A620-4EBB-91C3-B0EEFFA240F2}" type="pres">
      <dgm:prSet presAssocID="{3CFF7951-E55B-46BE-947C-CB9DD20B4C55}" presName="rootConnector" presStyleLbl="node2" presStyleIdx="3" presStyleCnt="4"/>
      <dgm:spPr/>
      <dgm:t>
        <a:bodyPr/>
        <a:lstStyle/>
        <a:p>
          <a:endParaRPr lang="ru-RU"/>
        </a:p>
      </dgm:t>
    </dgm:pt>
    <dgm:pt modelId="{065A1F5B-6644-448C-BE0B-9E1455DB153E}" type="pres">
      <dgm:prSet presAssocID="{3CFF7951-E55B-46BE-947C-CB9DD20B4C55}" presName="hierChild4" presStyleCnt="0"/>
      <dgm:spPr/>
    </dgm:pt>
    <dgm:pt modelId="{6DE04B17-E704-4C61-B571-D211C9BAA1DF}" type="pres">
      <dgm:prSet presAssocID="{DBA97D1E-F124-4A19-9FD3-D063F248604A}" presName="Name35" presStyleLbl="parChTrans1D3" presStyleIdx="3" presStyleCnt="4"/>
      <dgm:spPr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6658"/>
              </a:lnTo>
              <a:lnTo>
                <a:pt x="46407" y="76658"/>
              </a:lnTo>
              <a:lnTo>
                <a:pt x="46407" y="247083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54A8DAD8-5428-4114-9D1A-4AB6E56419EE}" type="pres">
      <dgm:prSet presAssocID="{8C75DE3C-F274-42A2-A8C8-86DA30280C80}" presName="hierRoot2" presStyleCnt="0">
        <dgm:presLayoutVars>
          <dgm:hierBranch val="init"/>
        </dgm:presLayoutVars>
      </dgm:prSet>
      <dgm:spPr/>
    </dgm:pt>
    <dgm:pt modelId="{88091E85-F5B7-4D8E-A555-61C78B939BEE}" type="pres">
      <dgm:prSet presAssocID="{8C75DE3C-F274-42A2-A8C8-86DA30280C80}" presName="rootComposite" presStyleCnt="0"/>
      <dgm:spPr/>
    </dgm:pt>
    <dgm:pt modelId="{0AB3C2AA-7A91-42D5-9223-7FDB822A48D5}" type="pres">
      <dgm:prSet presAssocID="{8C75DE3C-F274-42A2-A8C8-86DA30280C80}" presName="rootText" presStyleLbl="node3" presStyleIdx="3" presStyleCnt="4" custScaleX="133280" custScaleY="114111" custLinFactNeighborX="11847" custLinFactNeighborY="-11554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374EEB96-439B-48AC-A08C-DEC7B21F5D94}" type="pres">
      <dgm:prSet presAssocID="{8C75DE3C-F274-42A2-A8C8-86DA30280C80}" presName="rootConnector" presStyleLbl="node3" presStyleIdx="3" presStyleCnt="4"/>
      <dgm:spPr/>
      <dgm:t>
        <a:bodyPr/>
        <a:lstStyle/>
        <a:p>
          <a:endParaRPr lang="ru-RU"/>
        </a:p>
      </dgm:t>
    </dgm:pt>
    <dgm:pt modelId="{40599C56-8CD8-477A-90D8-7B38293428E4}" type="pres">
      <dgm:prSet presAssocID="{8C75DE3C-F274-42A2-A8C8-86DA30280C80}" presName="hierChild4" presStyleCnt="0"/>
      <dgm:spPr/>
    </dgm:pt>
    <dgm:pt modelId="{6766EE79-0921-47CF-8D50-98E85D063322}" type="pres">
      <dgm:prSet presAssocID="{8C75DE3C-F274-42A2-A8C8-86DA30280C80}" presName="hierChild5" presStyleCnt="0"/>
      <dgm:spPr/>
    </dgm:pt>
    <dgm:pt modelId="{EAC9F066-C840-47A6-B410-8B14F766B9AD}" type="pres">
      <dgm:prSet presAssocID="{3CFF7951-E55B-46BE-947C-CB9DD20B4C55}" presName="hierChild5" presStyleCnt="0"/>
      <dgm:spPr/>
    </dgm:pt>
    <dgm:pt modelId="{0CD26F65-1F18-42C2-96FD-8B3F0E67C26D}" type="pres">
      <dgm:prSet presAssocID="{8A3C54DE-D07E-41C0-A518-440AED73A106}" presName="hierChild3" presStyleCnt="0"/>
      <dgm:spPr/>
    </dgm:pt>
  </dgm:ptLst>
  <dgm:cxnLst>
    <dgm:cxn modelId="{16D603E4-35B7-4E53-8A87-AD0DBE3A5B60}" srcId="{261676FF-90A0-4706-AB98-4B9AEDF8B671}" destId="{8A3C54DE-D07E-41C0-A518-440AED73A106}" srcOrd="0" destOrd="0" parTransId="{B75431C4-1818-4A9D-9C0E-AC29B7314DB4}" sibTransId="{89D87C6D-9B8A-4C6C-80AF-C139DC6DB340}"/>
    <dgm:cxn modelId="{70AB30F6-34DE-4153-AE29-25AE57EB68E0}" type="presOf" srcId="{8EE13F1B-E86A-48DC-BAF0-A71B13EA69DA}" destId="{9328D671-9D3C-48EB-8E1E-A5EC5B79E8E3}" srcOrd="0" destOrd="0" presId="urn:microsoft.com/office/officeart/2005/8/layout/orgChart1"/>
    <dgm:cxn modelId="{E3655882-1A61-4ABF-9181-8DF91D0D4DD6}" type="presOf" srcId="{5C6A7ED4-59EB-4784-BB27-47DF022A4BEF}" destId="{4067E8A3-7CD4-4538-B615-D8F5CE86D69E}" srcOrd="0" destOrd="0" presId="urn:microsoft.com/office/officeart/2005/8/layout/orgChart1"/>
    <dgm:cxn modelId="{82E162B1-0B5B-4FC4-8D9A-F54FE7E320AF}" srcId="{8A3C54DE-D07E-41C0-A518-440AED73A106}" destId="{8EE13F1B-E86A-48DC-BAF0-A71B13EA69DA}" srcOrd="0" destOrd="0" parTransId="{8C331475-826E-4190-BEBC-E3FB2DCC84D3}" sibTransId="{3E22301F-2DE8-4B88-AC3B-34057E85513E}"/>
    <dgm:cxn modelId="{835C2B78-4B47-4472-8E0E-C20CD46C794F}" type="presOf" srcId="{E4C34A70-F6BE-4E0C-9C64-D328B042CA53}" destId="{C00066F9-0EC3-4F7B-895A-2EFF1C74F2B1}" srcOrd="0" destOrd="0" presId="urn:microsoft.com/office/officeart/2005/8/layout/orgChart1"/>
    <dgm:cxn modelId="{0F155C10-33DE-49C7-8B15-9FE31AFE0DB6}" type="presOf" srcId="{CAF557A6-C151-4F12-8BC4-ADD668D5C95C}" destId="{3C5BFA98-FE36-47CF-B12E-4701A115E960}" srcOrd="1" destOrd="0" presId="urn:microsoft.com/office/officeart/2005/8/layout/orgChart1"/>
    <dgm:cxn modelId="{55A18E15-01F3-435A-974E-EBED9FA0F510}" srcId="{991C6D19-C4FA-4B04-AEA5-F01943F1C5B0}" destId="{7727A4E6-DF06-49C4-934C-D0849F55E345}" srcOrd="0" destOrd="0" parTransId="{C2D9B891-5E72-4432-93BD-9D9804685BC8}" sibTransId="{FECC979A-F064-43F8-80E5-6950607F6C0B}"/>
    <dgm:cxn modelId="{228197BB-7220-4F8F-95BF-E59B46E8CD6A}" type="presOf" srcId="{0017E170-D8E6-4278-A20F-26D57B83E8F8}" destId="{44BCD7E9-0BAF-4F73-9EC6-F0516B7490FC}" srcOrd="1" destOrd="0" presId="urn:microsoft.com/office/officeart/2005/8/layout/orgChart1"/>
    <dgm:cxn modelId="{594A3C74-179A-449D-88A2-D17FD4A2A2E8}" type="presOf" srcId="{3CFF7951-E55B-46BE-947C-CB9DD20B4C55}" destId="{B5F6E3C9-A620-4EBB-91C3-B0EEFFA240F2}" srcOrd="1" destOrd="0" presId="urn:microsoft.com/office/officeart/2005/8/layout/orgChart1"/>
    <dgm:cxn modelId="{1161F884-C660-4056-A4AB-811577687F7E}" srcId="{3CFF7951-E55B-46BE-947C-CB9DD20B4C55}" destId="{8C75DE3C-F274-42A2-A8C8-86DA30280C80}" srcOrd="0" destOrd="0" parTransId="{DBA97D1E-F124-4A19-9FD3-D063F248604A}" sibTransId="{88FE15CE-5954-48EA-9468-FE93BAEEBD95}"/>
    <dgm:cxn modelId="{B105AD78-1BBC-46FA-9585-D4B8BA29091D}" srcId="{8A3C54DE-D07E-41C0-A518-440AED73A106}" destId="{CB79427C-ED2D-439F-BA36-5D3D46509334}" srcOrd="2" destOrd="0" parTransId="{E6F9E058-A91B-4AD8-BFBF-3ADB94CB0F3E}" sibTransId="{2B3F9139-B814-4B3D-BBD3-798360E65E6B}"/>
    <dgm:cxn modelId="{92669A83-F3C2-48A3-9C94-23614A1E22DE}" type="presOf" srcId="{8C75DE3C-F274-42A2-A8C8-86DA30280C80}" destId="{374EEB96-439B-48AC-A08C-DEC7B21F5D94}" srcOrd="1" destOrd="0" presId="urn:microsoft.com/office/officeart/2005/8/layout/orgChart1"/>
    <dgm:cxn modelId="{C42E1D03-2345-4F3C-8DB3-300FF8854476}" type="presOf" srcId="{261676FF-90A0-4706-AB98-4B9AEDF8B671}" destId="{78664118-1AA0-4AAF-8858-A5D2B11EAEED}" srcOrd="0" destOrd="0" presId="urn:microsoft.com/office/officeart/2005/8/layout/orgChart1"/>
    <dgm:cxn modelId="{E363A7BD-B130-401B-86C1-8DB95439CC87}" srcId="{CB79427C-ED2D-439F-BA36-5D3D46509334}" destId="{C035ABF6-32BD-469C-8E35-5DF85D8AC62F}" srcOrd="0" destOrd="0" parTransId="{C66779C4-A1D5-4024-8D46-C9444F5834B8}" sibTransId="{92ED51C3-65A3-40BD-A8F8-637E8C709B79}"/>
    <dgm:cxn modelId="{DD393EB3-7F81-4A1E-9BDD-9FDF32384E69}" type="presOf" srcId="{3CFF7951-E55B-46BE-947C-CB9DD20B4C55}" destId="{3C116627-DEF8-4980-AFCE-C4A29080FCF3}" srcOrd="0" destOrd="0" presId="urn:microsoft.com/office/officeart/2005/8/layout/orgChart1"/>
    <dgm:cxn modelId="{744B3F2B-BE9F-4152-85AA-8173F3F39427}" type="presOf" srcId="{C2D9B891-5E72-4432-93BD-9D9804685BC8}" destId="{593E5036-8C27-43BD-A98D-53D43EF800CA}" srcOrd="0" destOrd="0" presId="urn:microsoft.com/office/officeart/2005/8/layout/orgChart1"/>
    <dgm:cxn modelId="{E4E38746-BE0D-4C19-BB80-F3106AB8A24E}" type="presOf" srcId="{8C331475-826E-4190-BEBC-E3FB2DCC84D3}" destId="{934B0FAC-C5E5-4962-8D56-4584135529D9}" srcOrd="0" destOrd="0" presId="urn:microsoft.com/office/officeart/2005/8/layout/orgChart1"/>
    <dgm:cxn modelId="{2AA5DA27-9211-4E6B-9EED-873F01C15754}" type="presOf" srcId="{FF24164D-918D-4327-A20A-28E840AD4DC3}" destId="{92072A02-4DDA-407D-99CC-8540E7D96173}" srcOrd="0" destOrd="0" presId="urn:microsoft.com/office/officeart/2005/8/layout/orgChart1"/>
    <dgm:cxn modelId="{4A0FCCE7-0B92-44E1-ABB9-FA43F8B9A371}" type="presOf" srcId="{00B993CA-DC2A-4C0C-ADBE-37DC8526235E}" destId="{E04BAF1A-F6F6-4CE0-9C39-5A9EDDF3E28D}" srcOrd="0" destOrd="0" presId="urn:microsoft.com/office/officeart/2005/8/layout/orgChart1"/>
    <dgm:cxn modelId="{D394476E-9398-4FD8-A452-65337257B82D}" type="presOf" srcId="{E6F9E058-A91B-4AD8-BFBF-3ADB94CB0F3E}" destId="{C38C0D3E-002F-4A5D-8F03-BDA866C32184}" srcOrd="0" destOrd="0" presId="urn:microsoft.com/office/officeart/2005/8/layout/orgChart1"/>
    <dgm:cxn modelId="{2464FBF3-A254-4343-9A73-62AC491EC442}" type="presOf" srcId="{0017E170-D8E6-4278-A20F-26D57B83E8F8}" destId="{0D9A319C-D817-4991-BDB4-74E7A38A7789}" srcOrd="0" destOrd="0" presId="urn:microsoft.com/office/officeart/2005/8/layout/orgChart1"/>
    <dgm:cxn modelId="{7B3FCA1C-D968-42BE-BBB4-7CAA380A1FFA}" type="presOf" srcId="{8C75DE3C-F274-42A2-A8C8-86DA30280C80}" destId="{0AB3C2AA-7A91-42D5-9223-7FDB822A48D5}" srcOrd="0" destOrd="0" presId="urn:microsoft.com/office/officeart/2005/8/layout/orgChart1"/>
    <dgm:cxn modelId="{526135D1-90B6-4D66-B567-B327694B5C55}" type="presOf" srcId="{991C6D19-C4FA-4B04-AEA5-F01943F1C5B0}" destId="{D1D5CAC4-51EE-45F1-84B5-FFF1EEAD2B6F}" srcOrd="1" destOrd="0" presId="urn:microsoft.com/office/officeart/2005/8/layout/orgChart1"/>
    <dgm:cxn modelId="{E4B6F14B-A119-445D-A8D8-885A7211FA5F}" type="presOf" srcId="{E31A9874-0E72-45E9-8C0F-0D200A8D296C}" destId="{703B9796-73EB-4B8F-A12C-A0BBE35093A0}" srcOrd="0" destOrd="0" presId="urn:microsoft.com/office/officeart/2005/8/layout/orgChart1"/>
    <dgm:cxn modelId="{2BEDF406-ECF5-403D-AFEF-236C5C7EB876}" type="presOf" srcId="{8A3C54DE-D07E-41C0-A518-440AED73A106}" destId="{1495E5A9-F379-4219-8BBC-8BB2BA18A0E7}" srcOrd="1" destOrd="0" presId="urn:microsoft.com/office/officeart/2005/8/layout/orgChart1"/>
    <dgm:cxn modelId="{D42C60E5-8622-47BA-869E-58901D644511}" type="presOf" srcId="{CAF557A6-C151-4F12-8BC4-ADD668D5C95C}" destId="{D2671C8C-67C9-44C2-B2AB-7E0C648FA84A}" srcOrd="0" destOrd="0" presId="urn:microsoft.com/office/officeart/2005/8/layout/orgChart1"/>
    <dgm:cxn modelId="{4E77AA42-6F77-4C2A-A9A0-B0C6C3A6C37C}" type="presOf" srcId="{CB79427C-ED2D-439F-BA36-5D3D46509334}" destId="{13ACBB32-74ED-45A3-8795-677A7BF953AF}" srcOrd="0" destOrd="0" presId="urn:microsoft.com/office/officeart/2005/8/layout/orgChart1"/>
    <dgm:cxn modelId="{98CBE248-70B0-46ED-92E4-DACCB67CC33C}" srcId="{CAF557A6-C151-4F12-8BC4-ADD668D5C95C}" destId="{FF24164D-918D-4327-A20A-28E840AD4DC3}" srcOrd="0" destOrd="0" parTransId="{E31A9874-0E72-45E9-8C0F-0D200A8D296C}" sibTransId="{A5D6EB65-92B8-4CA6-8B60-327DCC82AE50}"/>
    <dgm:cxn modelId="{7571C4B8-4231-421B-AA58-2CBF505277A0}" srcId="{8A3C54DE-D07E-41C0-A518-440AED73A106}" destId="{3CFF7951-E55B-46BE-947C-CB9DD20B4C55}" srcOrd="3" destOrd="0" parTransId="{00B993CA-DC2A-4C0C-ADBE-37DC8526235E}" sibTransId="{B59FE8BD-36AF-4933-88AC-1067B1569594}"/>
    <dgm:cxn modelId="{5D0FCF2A-7D2F-4AD2-8A6C-50EA5708D55A}" type="presOf" srcId="{7727A4E6-DF06-49C4-934C-D0849F55E345}" destId="{181E4F33-7C45-4ADD-88DE-F32304B102B0}" srcOrd="1" destOrd="0" presId="urn:microsoft.com/office/officeart/2005/8/layout/orgChart1"/>
    <dgm:cxn modelId="{7A22117B-D8BC-4BA3-8963-EF18F7707C8A}" type="presOf" srcId="{8A3C54DE-D07E-41C0-A518-440AED73A106}" destId="{26E5F850-201D-42D6-B7D6-F632772FA4A5}" srcOrd="0" destOrd="0" presId="urn:microsoft.com/office/officeart/2005/8/layout/orgChart1"/>
    <dgm:cxn modelId="{856A20AF-ECB3-4DF9-BA28-DB20D04F7BBD}" type="presOf" srcId="{7727A4E6-DF06-49C4-934C-D0849F55E345}" destId="{B440F3C3-5D23-4E7C-AC52-149F909FC78E}" srcOrd="0" destOrd="0" presId="urn:microsoft.com/office/officeart/2005/8/layout/orgChart1"/>
    <dgm:cxn modelId="{32672774-ABD4-4FDE-94D7-F53AEBBC9776}" type="presOf" srcId="{DBA97D1E-F124-4A19-9FD3-D063F248604A}" destId="{6DE04B17-E704-4C61-B571-D211C9BAA1DF}" srcOrd="0" destOrd="0" presId="urn:microsoft.com/office/officeart/2005/8/layout/orgChart1"/>
    <dgm:cxn modelId="{1410E2F4-14A8-4436-970B-2D8296AE15F9}" type="presOf" srcId="{C035ABF6-32BD-469C-8E35-5DF85D8AC62F}" destId="{6C37F8BC-9A03-4C25-95F4-7F5AAA4196AE}" srcOrd="1" destOrd="0" presId="urn:microsoft.com/office/officeart/2005/8/layout/orgChart1"/>
    <dgm:cxn modelId="{F61297E1-FF0C-4E13-BF99-4BF464DCC3D8}" type="presOf" srcId="{991C6D19-C4FA-4B04-AEA5-F01943F1C5B0}" destId="{BBA4C7FD-E5C2-4DFC-99E9-437CF1ADA314}" srcOrd="0" destOrd="0" presId="urn:microsoft.com/office/officeart/2005/8/layout/orgChart1"/>
    <dgm:cxn modelId="{3EAC720B-DF89-4D9A-A079-71BA0D3C64CC}" type="presOf" srcId="{FF24164D-918D-4327-A20A-28E840AD4DC3}" destId="{E09D7214-374D-49F7-B29D-CDA7D58754CD}" srcOrd="1" destOrd="0" presId="urn:microsoft.com/office/officeart/2005/8/layout/orgChart1"/>
    <dgm:cxn modelId="{5A8C0794-81A4-4A87-9721-4D7B3465CA20}" type="presOf" srcId="{C035ABF6-32BD-469C-8E35-5DF85D8AC62F}" destId="{296591D2-9536-4319-93C2-42F621422199}" srcOrd="0" destOrd="0" presId="urn:microsoft.com/office/officeart/2005/8/layout/orgChart1"/>
    <dgm:cxn modelId="{892E6000-37C1-4BAE-A9CD-64A78421E95A}" srcId="{0017E170-D8E6-4278-A20F-26D57B83E8F8}" destId="{991C6D19-C4FA-4B04-AEA5-F01943F1C5B0}" srcOrd="0" destOrd="0" parTransId="{E4C34A70-F6BE-4E0C-9C64-D328B042CA53}" sibTransId="{2BA5395C-2143-4058-A775-71C57A30C397}"/>
    <dgm:cxn modelId="{A7708BE8-61DE-467C-B66D-1451DF16131E}" srcId="{8EE13F1B-E86A-48DC-BAF0-A71B13EA69DA}" destId="{CAF557A6-C151-4F12-8BC4-ADD668D5C95C}" srcOrd="0" destOrd="0" parTransId="{52408BB1-AD26-4560-B63F-74B3324493DA}" sibTransId="{9EB406F1-AAAC-4E12-9E1D-6E35D23B9BD4}"/>
    <dgm:cxn modelId="{4F737CC7-ABB2-4796-AF44-7311CAF27754}" type="presOf" srcId="{CB79427C-ED2D-439F-BA36-5D3D46509334}" destId="{6B76D25B-0117-4C4B-8DF4-9A9D80787665}" srcOrd="1" destOrd="0" presId="urn:microsoft.com/office/officeart/2005/8/layout/orgChart1"/>
    <dgm:cxn modelId="{5176E710-745B-4FF7-90FD-6D76F8BF360E}" type="presOf" srcId="{52408BB1-AD26-4560-B63F-74B3324493DA}" destId="{9EAC763E-2872-430E-9AA3-F44BDF41CDA0}" srcOrd="0" destOrd="0" presId="urn:microsoft.com/office/officeart/2005/8/layout/orgChart1"/>
    <dgm:cxn modelId="{80056F68-0804-4B93-AED0-7A3322A4E7EE}" srcId="{8A3C54DE-D07E-41C0-A518-440AED73A106}" destId="{0017E170-D8E6-4278-A20F-26D57B83E8F8}" srcOrd="1" destOrd="0" parTransId="{5C6A7ED4-59EB-4784-BB27-47DF022A4BEF}" sibTransId="{31EA13D0-118B-4382-AFEC-2D26DF48F58A}"/>
    <dgm:cxn modelId="{E186D0F9-8215-49FE-AFA4-90594385492F}" type="presOf" srcId="{C66779C4-A1D5-4024-8D46-C9444F5834B8}" destId="{3C7D8733-70A9-4182-99B5-E8CA1CDE0332}" srcOrd="0" destOrd="0" presId="urn:microsoft.com/office/officeart/2005/8/layout/orgChart1"/>
    <dgm:cxn modelId="{0828A2FE-6842-4B5F-9C06-12E189BDABF3}" type="presOf" srcId="{8EE13F1B-E86A-48DC-BAF0-A71B13EA69DA}" destId="{1C9CE4DF-33CE-43D8-AD8A-04CB617FFB44}" srcOrd="1" destOrd="0" presId="urn:microsoft.com/office/officeart/2005/8/layout/orgChart1"/>
    <dgm:cxn modelId="{3E80171D-B014-47C0-AFD7-51D9B3BAD128}" type="presParOf" srcId="{78664118-1AA0-4AAF-8858-A5D2B11EAEED}" destId="{299C7BE5-1629-47D5-B18E-C33CF57C8C75}" srcOrd="0" destOrd="0" presId="urn:microsoft.com/office/officeart/2005/8/layout/orgChart1"/>
    <dgm:cxn modelId="{034830E3-53CB-45B7-B416-78BCBE8D3A6B}" type="presParOf" srcId="{299C7BE5-1629-47D5-B18E-C33CF57C8C75}" destId="{C3540E58-A51C-4A7F-905E-7097019A7B6D}" srcOrd="0" destOrd="0" presId="urn:microsoft.com/office/officeart/2005/8/layout/orgChart1"/>
    <dgm:cxn modelId="{DDE658D7-60FC-4D81-B5A6-195E03338258}" type="presParOf" srcId="{C3540E58-A51C-4A7F-905E-7097019A7B6D}" destId="{26E5F850-201D-42D6-B7D6-F632772FA4A5}" srcOrd="0" destOrd="0" presId="urn:microsoft.com/office/officeart/2005/8/layout/orgChart1"/>
    <dgm:cxn modelId="{7360842F-33F5-47C0-85F7-595BB45AF04D}" type="presParOf" srcId="{C3540E58-A51C-4A7F-905E-7097019A7B6D}" destId="{1495E5A9-F379-4219-8BBC-8BB2BA18A0E7}" srcOrd="1" destOrd="0" presId="urn:microsoft.com/office/officeart/2005/8/layout/orgChart1"/>
    <dgm:cxn modelId="{B8F1F39A-27E9-4AB3-B1A0-15147729C9C4}" type="presParOf" srcId="{299C7BE5-1629-47D5-B18E-C33CF57C8C75}" destId="{E7A6EC15-6CDD-4FC2-A434-6AC3020DEBE1}" srcOrd="1" destOrd="0" presId="urn:microsoft.com/office/officeart/2005/8/layout/orgChart1"/>
    <dgm:cxn modelId="{A3F96F8F-E00F-49AB-B58B-6F239198D9DE}" type="presParOf" srcId="{E7A6EC15-6CDD-4FC2-A434-6AC3020DEBE1}" destId="{934B0FAC-C5E5-4962-8D56-4584135529D9}" srcOrd="0" destOrd="0" presId="urn:microsoft.com/office/officeart/2005/8/layout/orgChart1"/>
    <dgm:cxn modelId="{DD14901A-35AD-4539-B90B-B0E8E7767B5B}" type="presParOf" srcId="{E7A6EC15-6CDD-4FC2-A434-6AC3020DEBE1}" destId="{9596A639-8371-44E1-9FC7-950BDF3DE4B3}" srcOrd="1" destOrd="0" presId="urn:microsoft.com/office/officeart/2005/8/layout/orgChart1"/>
    <dgm:cxn modelId="{D2723B94-6A16-48F3-A50A-F68AF53DDFE4}" type="presParOf" srcId="{9596A639-8371-44E1-9FC7-950BDF3DE4B3}" destId="{3A141B79-BC18-4508-B648-DF8EFF5477B0}" srcOrd="0" destOrd="0" presId="urn:microsoft.com/office/officeart/2005/8/layout/orgChart1"/>
    <dgm:cxn modelId="{13E16907-2802-47F0-8356-B870FEC1D4FF}" type="presParOf" srcId="{3A141B79-BC18-4508-B648-DF8EFF5477B0}" destId="{9328D671-9D3C-48EB-8E1E-A5EC5B79E8E3}" srcOrd="0" destOrd="0" presId="urn:microsoft.com/office/officeart/2005/8/layout/orgChart1"/>
    <dgm:cxn modelId="{A1D2483D-10EA-417A-A9EE-0E447D4F69FF}" type="presParOf" srcId="{3A141B79-BC18-4508-B648-DF8EFF5477B0}" destId="{1C9CE4DF-33CE-43D8-AD8A-04CB617FFB44}" srcOrd="1" destOrd="0" presId="urn:microsoft.com/office/officeart/2005/8/layout/orgChart1"/>
    <dgm:cxn modelId="{84303A91-1304-4395-B1D7-1F8F06276442}" type="presParOf" srcId="{9596A639-8371-44E1-9FC7-950BDF3DE4B3}" destId="{E7AF6350-B36B-4C47-B810-BC753355C596}" srcOrd="1" destOrd="0" presId="urn:microsoft.com/office/officeart/2005/8/layout/orgChart1"/>
    <dgm:cxn modelId="{54957ADC-EA27-47B2-ACB3-4DD4C6EDD217}" type="presParOf" srcId="{E7AF6350-B36B-4C47-B810-BC753355C596}" destId="{9EAC763E-2872-430E-9AA3-F44BDF41CDA0}" srcOrd="0" destOrd="0" presId="urn:microsoft.com/office/officeart/2005/8/layout/orgChart1"/>
    <dgm:cxn modelId="{A42208D3-CF7E-473F-B4A4-2FFA2DA08DB4}" type="presParOf" srcId="{E7AF6350-B36B-4C47-B810-BC753355C596}" destId="{8AB5ADDB-D301-4FA3-9775-56C021D7C32D}" srcOrd="1" destOrd="0" presId="urn:microsoft.com/office/officeart/2005/8/layout/orgChart1"/>
    <dgm:cxn modelId="{4089A302-7DA6-4A26-8971-03E4DCF0678C}" type="presParOf" srcId="{8AB5ADDB-D301-4FA3-9775-56C021D7C32D}" destId="{FDB02D2B-B67C-4DCB-9A3B-A56F5A7ABE81}" srcOrd="0" destOrd="0" presId="urn:microsoft.com/office/officeart/2005/8/layout/orgChart1"/>
    <dgm:cxn modelId="{1FE61AE3-10D8-42EC-8C76-20E8EA63C31D}" type="presParOf" srcId="{FDB02D2B-B67C-4DCB-9A3B-A56F5A7ABE81}" destId="{D2671C8C-67C9-44C2-B2AB-7E0C648FA84A}" srcOrd="0" destOrd="0" presId="urn:microsoft.com/office/officeart/2005/8/layout/orgChart1"/>
    <dgm:cxn modelId="{8D6FBFAF-AA6B-4B10-B4CF-CC6DD90763E1}" type="presParOf" srcId="{FDB02D2B-B67C-4DCB-9A3B-A56F5A7ABE81}" destId="{3C5BFA98-FE36-47CF-B12E-4701A115E960}" srcOrd="1" destOrd="0" presId="urn:microsoft.com/office/officeart/2005/8/layout/orgChart1"/>
    <dgm:cxn modelId="{AFB13222-2E19-4AF7-954C-AA205C350BC0}" type="presParOf" srcId="{8AB5ADDB-D301-4FA3-9775-56C021D7C32D}" destId="{D294ECF2-49CF-4177-9610-CB13B99A4284}" srcOrd="1" destOrd="0" presId="urn:microsoft.com/office/officeart/2005/8/layout/orgChart1"/>
    <dgm:cxn modelId="{BAA4E7C8-5BE0-4503-A5DA-A4888BFC1EAC}" type="presParOf" srcId="{D294ECF2-49CF-4177-9610-CB13B99A4284}" destId="{703B9796-73EB-4B8F-A12C-A0BBE35093A0}" srcOrd="0" destOrd="0" presId="urn:microsoft.com/office/officeart/2005/8/layout/orgChart1"/>
    <dgm:cxn modelId="{1C43E9F5-C3AB-428E-BE06-2D726ED81E42}" type="presParOf" srcId="{D294ECF2-49CF-4177-9610-CB13B99A4284}" destId="{7F75B310-FC5C-4692-8FB5-F89D94C11724}" srcOrd="1" destOrd="0" presId="urn:microsoft.com/office/officeart/2005/8/layout/orgChart1"/>
    <dgm:cxn modelId="{60048C92-48D2-41C5-8D24-1F8AEF0DC434}" type="presParOf" srcId="{7F75B310-FC5C-4692-8FB5-F89D94C11724}" destId="{2A475520-863F-4B2A-9214-D2256BE5BB6B}" srcOrd="0" destOrd="0" presId="urn:microsoft.com/office/officeart/2005/8/layout/orgChart1"/>
    <dgm:cxn modelId="{184BDE4C-14F8-4DFD-818E-5101F1C7F612}" type="presParOf" srcId="{2A475520-863F-4B2A-9214-D2256BE5BB6B}" destId="{92072A02-4DDA-407D-99CC-8540E7D96173}" srcOrd="0" destOrd="0" presId="urn:microsoft.com/office/officeart/2005/8/layout/orgChart1"/>
    <dgm:cxn modelId="{FB334A1A-1A86-435B-B6CC-49F08EC97849}" type="presParOf" srcId="{2A475520-863F-4B2A-9214-D2256BE5BB6B}" destId="{E09D7214-374D-49F7-B29D-CDA7D58754CD}" srcOrd="1" destOrd="0" presId="urn:microsoft.com/office/officeart/2005/8/layout/orgChart1"/>
    <dgm:cxn modelId="{C765074C-86D7-4749-AABC-8151BA9057BC}" type="presParOf" srcId="{7F75B310-FC5C-4692-8FB5-F89D94C11724}" destId="{0D4CF047-DFA8-47B4-B395-579B0407CDBC}" srcOrd="1" destOrd="0" presId="urn:microsoft.com/office/officeart/2005/8/layout/orgChart1"/>
    <dgm:cxn modelId="{B84379E7-7474-4E97-89BE-87BA93FEBE82}" type="presParOf" srcId="{7F75B310-FC5C-4692-8FB5-F89D94C11724}" destId="{0FCBB2CE-5B21-4A5E-B615-EFBFDD7A4FE8}" srcOrd="2" destOrd="0" presId="urn:microsoft.com/office/officeart/2005/8/layout/orgChart1"/>
    <dgm:cxn modelId="{653CE2F0-EEA9-4703-9E5E-89425E2E7664}" type="presParOf" srcId="{8AB5ADDB-D301-4FA3-9775-56C021D7C32D}" destId="{A6FEC3C1-3CAB-4182-BEAF-0329EB979B98}" srcOrd="2" destOrd="0" presId="urn:microsoft.com/office/officeart/2005/8/layout/orgChart1"/>
    <dgm:cxn modelId="{7533A69F-523A-48DD-AD66-2ED95A619E0A}" type="presParOf" srcId="{9596A639-8371-44E1-9FC7-950BDF3DE4B3}" destId="{05525B68-A93B-4D6C-8DB5-7DCE3AC82504}" srcOrd="2" destOrd="0" presId="urn:microsoft.com/office/officeart/2005/8/layout/orgChart1"/>
    <dgm:cxn modelId="{724D3DF5-09B3-4650-942A-D065DA7FA831}" type="presParOf" srcId="{E7A6EC15-6CDD-4FC2-A434-6AC3020DEBE1}" destId="{4067E8A3-7CD4-4538-B615-D8F5CE86D69E}" srcOrd="2" destOrd="0" presId="urn:microsoft.com/office/officeart/2005/8/layout/orgChart1"/>
    <dgm:cxn modelId="{44A8663A-C2C4-47D8-B267-03C5B74CCB50}" type="presParOf" srcId="{E7A6EC15-6CDD-4FC2-A434-6AC3020DEBE1}" destId="{B40EE611-2A0B-40B8-AEA1-7063B92BCBD9}" srcOrd="3" destOrd="0" presId="urn:microsoft.com/office/officeart/2005/8/layout/orgChart1"/>
    <dgm:cxn modelId="{7E540F13-68E9-4868-B4F8-278FFA042146}" type="presParOf" srcId="{B40EE611-2A0B-40B8-AEA1-7063B92BCBD9}" destId="{9890CF5B-53EB-4631-9FA7-429198BD96B6}" srcOrd="0" destOrd="0" presId="urn:microsoft.com/office/officeart/2005/8/layout/orgChart1"/>
    <dgm:cxn modelId="{7F2F9E12-32B9-49BC-A12D-647A0E38EDBB}" type="presParOf" srcId="{9890CF5B-53EB-4631-9FA7-429198BD96B6}" destId="{0D9A319C-D817-4991-BDB4-74E7A38A7789}" srcOrd="0" destOrd="0" presId="urn:microsoft.com/office/officeart/2005/8/layout/orgChart1"/>
    <dgm:cxn modelId="{5B81051B-E974-49F3-8E4D-307BD102FE19}" type="presParOf" srcId="{9890CF5B-53EB-4631-9FA7-429198BD96B6}" destId="{44BCD7E9-0BAF-4F73-9EC6-F0516B7490FC}" srcOrd="1" destOrd="0" presId="urn:microsoft.com/office/officeart/2005/8/layout/orgChart1"/>
    <dgm:cxn modelId="{3918C70E-B996-4EFE-9069-81853E469364}" type="presParOf" srcId="{B40EE611-2A0B-40B8-AEA1-7063B92BCBD9}" destId="{7B0B0FA4-0CE5-4D7C-9224-149C6A5363C5}" srcOrd="1" destOrd="0" presId="urn:microsoft.com/office/officeart/2005/8/layout/orgChart1"/>
    <dgm:cxn modelId="{DDEF8B97-5175-4281-8B20-38A092875BF1}" type="presParOf" srcId="{7B0B0FA4-0CE5-4D7C-9224-149C6A5363C5}" destId="{C00066F9-0EC3-4F7B-895A-2EFF1C74F2B1}" srcOrd="0" destOrd="0" presId="urn:microsoft.com/office/officeart/2005/8/layout/orgChart1"/>
    <dgm:cxn modelId="{B9AF3C6A-5D3C-49ED-9259-467F69C3CA6A}" type="presParOf" srcId="{7B0B0FA4-0CE5-4D7C-9224-149C6A5363C5}" destId="{9D2FC44C-B724-4337-AE5F-15F39673081D}" srcOrd="1" destOrd="0" presId="urn:microsoft.com/office/officeart/2005/8/layout/orgChart1"/>
    <dgm:cxn modelId="{8A7283EE-6509-4516-B9E2-39D0E6CFA97A}" type="presParOf" srcId="{9D2FC44C-B724-4337-AE5F-15F39673081D}" destId="{A43AF74E-77FA-4709-B3B4-910966238AE4}" srcOrd="0" destOrd="0" presId="urn:microsoft.com/office/officeart/2005/8/layout/orgChart1"/>
    <dgm:cxn modelId="{6D418C16-640B-4484-A42B-6C67BE1724A2}" type="presParOf" srcId="{A43AF74E-77FA-4709-B3B4-910966238AE4}" destId="{BBA4C7FD-E5C2-4DFC-99E9-437CF1ADA314}" srcOrd="0" destOrd="0" presId="urn:microsoft.com/office/officeart/2005/8/layout/orgChart1"/>
    <dgm:cxn modelId="{4D73A91D-DABE-421E-BC8C-0301801A9F90}" type="presParOf" srcId="{A43AF74E-77FA-4709-B3B4-910966238AE4}" destId="{D1D5CAC4-51EE-45F1-84B5-FFF1EEAD2B6F}" srcOrd="1" destOrd="0" presId="urn:microsoft.com/office/officeart/2005/8/layout/orgChart1"/>
    <dgm:cxn modelId="{20679982-21BA-44F4-A212-F755D4A7658F}" type="presParOf" srcId="{9D2FC44C-B724-4337-AE5F-15F39673081D}" destId="{CF0E200D-6C39-4EED-A845-0E7C68628BCB}" srcOrd="1" destOrd="0" presId="urn:microsoft.com/office/officeart/2005/8/layout/orgChart1"/>
    <dgm:cxn modelId="{9A71B9CC-CAEA-40A3-B6D1-CDF06422E75E}" type="presParOf" srcId="{CF0E200D-6C39-4EED-A845-0E7C68628BCB}" destId="{593E5036-8C27-43BD-A98D-53D43EF800CA}" srcOrd="0" destOrd="0" presId="urn:microsoft.com/office/officeart/2005/8/layout/orgChart1"/>
    <dgm:cxn modelId="{7688FD6E-B8C2-4DCC-B2AD-D68CCDBACAB0}" type="presParOf" srcId="{CF0E200D-6C39-4EED-A845-0E7C68628BCB}" destId="{90AF083F-04CE-4CDB-B0D1-2963C66357C8}" srcOrd="1" destOrd="0" presId="urn:microsoft.com/office/officeart/2005/8/layout/orgChart1"/>
    <dgm:cxn modelId="{33E0AACA-EC17-41D3-AAA0-98FB60DC5C81}" type="presParOf" srcId="{90AF083F-04CE-4CDB-B0D1-2963C66357C8}" destId="{D4D08BAD-CD2F-4C46-B390-FD201CA7DB49}" srcOrd="0" destOrd="0" presId="urn:microsoft.com/office/officeart/2005/8/layout/orgChart1"/>
    <dgm:cxn modelId="{15A39D5C-8580-4DF0-8098-C7AD77AB9E7B}" type="presParOf" srcId="{D4D08BAD-CD2F-4C46-B390-FD201CA7DB49}" destId="{B440F3C3-5D23-4E7C-AC52-149F909FC78E}" srcOrd="0" destOrd="0" presId="urn:microsoft.com/office/officeart/2005/8/layout/orgChart1"/>
    <dgm:cxn modelId="{014EBD23-1001-455E-9276-320A72DE0278}" type="presParOf" srcId="{D4D08BAD-CD2F-4C46-B390-FD201CA7DB49}" destId="{181E4F33-7C45-4ADD-88DE-F32304B102B0}" srcOrd="1" destOrd="0" presId="urn:microsoft.com/office/officeart/2005/8/layout/orgChart1"/>
    <dgm:cxn modelId="{0E2D3179-0B7A-49E5-B2A3-7AA17A003A47}" type="presParOf" srcId="{90AF083F-04CE-4CDB-B0D1-2963C66357C8}" destId="{6E62BEF7-B5E8-46EF-BFD1-2886A3F0F4C5}" srcOrd="1" destOrd="0" presId="urn:microsoft.com/office/officeart/2005/8/layout/orgChart1"/>
    <dgm:cxn modelId="{AFD0C9B6-D747-42CA-AAC0-1FD490978523}" type="presParOf" srcId="{90AF083F-04CE-4CDB-B0D1-2963C66357C8}" destId="{11F7ED27-0335-4CC6-9BEB-FB419C5988BA}" srcOrd="2" destOrd="0" presId="urn:microsoft.com/office/officeart/2005/8/layout/orgChart1"/>
    <dgm:cxn modelId="{D9027E0E-F410-4827-AE05-458EF4BBE035}" type="presParOf" srcId="{9D2FC44C-B724-4337-AE5F-15F39673081D}" destId="{C9611B70-475A-4504-8BB5-165ED91A2549}" srcOrd="2" destOrd="0" presId="urn:microsoft.com/office/officeart/2005/8/layout/orgChart1"/>
    <dgm:cxn modelId="{D709FC3A-8FCB-49FF-A792-ECB64A1F9211}" type="presParOf" srcId="{B40EE611-2A0B-40B8-AEA1-7063B92BCBD9}" destId="{5F303DF1-A8A6-472E-8673-1E26227EC56A}" srcOrd="2" destOrd="0" presId="urn:microsoft.com/office/officeart/2005/8/layout/orgChart1"/>
    <dgm:cxn modelId="{E6F1F201-A5D1-4DEC-8298-8F27157F6EFD}" type="presParOf" srcId="{E7A6EC15-6CDD-4FC2-A434-6AC3020DEBE1}" destId="{C38C0D3E-002F-4A5D-8F03-BDA866C32184}" srcOrd="4" destOrd="0" presId="urn:microsoft.com/office/officeart/2005/8/layout/orgChart1"/>
    <dgm:cxn modelId="{E7619628-1148-470A-8808-BE5DDAFFA331}" type="presParOf" srcId="{E7A6EC15-6CDD-4FC2-A434-6AC3020DEBE1}" destId="{5CBC6E51-C97F-4C9C-A26C-84FDFE704548}" srcOrd="5" destOrd="0" presId="urn:microsoft.com/office/officeart/2005/8/layout/orgChart1"/>
    <dgm:cxn modelId="{E18BC149-0095-45F9-855A-DB08E1B1BE68}" type="presParOf" srcId="{5CBC6E51-C97F-4C9C-A26C-84FDFE704548}" destId="{623A998D-8DCB-4A6D-8AC4-656EDD9CB6F9}" srcOrd="0" destOrd="0" presId="urn:microsoft.com/office/officeart/2005/8/layout/orgChart1"/>
    <dgm:cxn modelId="{2D602CEB-DBC6-431C-9A71-2C5921D6ABB1}" type="presParOf" srcId="{623A998D-8DCB-4A6D-8AC4-656EDD9CB6F9}" destId="{13ACBB32-74ED-45A3-8795-677A7BF953AF}" srcOrd="0" destOrd="0" presId="urn:microsoft.com/office/officeart/2005/8/layout/orgChart1"/>
    <dgm:cxn modelId="{21142442-FA8A-48A5-95A8-D1D6662C4C91}" type="presParOf" srcId="{623A998D-8DCB-4A6D-8AC4-656EDD9CB6F9}" destId="{6B76D25B-0117-4C4B-8DF4-9A9D80787665}" srcOrd="1" destOrd="0" presId="urn:microsoft.com/office/officeart/2005/8/layout/orgChart1"/>
    <dgm:cxn modelId="{B658DCE8-78B0-44BA-8119-A935EE9885C5}" type="presParOf" srcId="{5CBC6E51-C97F-4C9C-A26C-84FDFE704548}" destId="{B976C4BA-F4A6-4354-B823-A9B07EC59470}" srcOrd="1" destOrd="0" presId="urn:microsoft.com/office/officeart/2005/8/layout/orgChart1"/>
    <dgm:cxn modelId="{A9557F16-B4CF-481F-9B0E-10AADE9BEA13}" type="presParOf" srcId="{B976C4BA-F4A6-4354-B823-A9B07EC59470}" destId="{3C7D8733-70A9-4182-99B5-E8CA1CDE0332}" srcOrd="0" destOrd="0" presId="urn:microsoft.com/office/officeart/2005/8/layout/orgChart1"/>
    <dgm:cxn modelId="{F41B88D0-BD3C-4257-936E-05BF41A5F126}" type="presParOf" srcId="{B976C4BA-F4A6-4354-B823-A9B07EC59470}" destId="{8667D5F4-AAD6-4F80-A3E5-492E6E489282}" srcOrd="1" destOrd="0" presId="urn:microsoft.com/office/officeart/2005/8/layout/orgChart1"/>
    <dgm:cxn modelId="{5AA9BBE9-3247-49E7-A086-03EB74E5F177}" type="presParOf" srcId="{8667D5F4-AAD6-4F80-A3E5-492E6E489282}" destId="{69FE6102-CD2C-4C3E-AB12-A2DCB0F66523}" srcOrd="0" destOrd="0" presId="urn:microsoft.com/office/officeart/2005/8/layout/orgChart1"/>
    <dgm:cxn modelId="{0FB1A86D-AF59-45F3-AD5D-B058B8B3AF21}" type="presParOf" srcId="{69FE6102-CD2C-4C3E-AB12-A2DCB0F66523}" destId="{296591D2-9536-4319-93C2-42F621422199}" srcOrd="0" destOrd="0" presId="urn:microsoft.com/office/officeart/2005/8/layout/orgChart1"/>
    <dgm:cxn modelId="{E93362E0-99EA-407A-B8D8-9A263CD71219}" type="presParOf" srcId="{69FE6102-CD2C-4C3E-AB12-A2DCB0F66523}" destId="{6C37F8BC-9A03-4C25-95F4-7F5AAA4196AE}" srcOrd="1" destOrd="0" presId="urn:microsoft.com/office/officeart/2005/8/layout/orgChart1"/>
    <dgm:cxn modelId="{0BB09D15-4F6C-436D-B7CE-647B7D2A9071}" type="presParOf" srcId="{8667D5F4-AAD6-4F80-A3E5-492E6E489282}" destId="{18359D78-DE1F-4723-B982-1AA0D9FB525B}" srcOrd="1" destOrd="0" presId="urn:microsoft.com/office/officeart/2005/8/layout/orgChart1"/>
    <dgm:cxn modelId="{91A2F424-D22B-4FB3-976F-A28CB8B94732}" type="presParOf" srcId="{8667D5F4-AAD6-4F80-A3E5-492E6E489282}" destId="{B91E105D-365C-448A-8419-D4F586E136D4}" srcOrd="2" destOrd="0" presId="urn:microsoft.com/office/officeart/2005/8/layout/orgChart1"/>
    <dgm:cxn modelId="{B9A97F29-D35E-41E5-94E0-34CA56DB16C0}" type="presParOf" srcId="{5CBC6E51-C97F-4C9C-A26C-84FDFE704548}" destId="{7DD36AD9-DAC5-476B-B201-29551EDD7F60}" srcOrd="2" destOrd="0" presId="urn:microsoft.com/office/officeart/2005/8/layout/orgChart1"/>
    <dgm:cxn modelId="{281C22AD-F363-4494-A5F2-F969B765696E}" type="presParOf" srcId="{E7A6EC15-6CDD-4FC2-A434-6AC3020DEBE1}" destId="{E04BAF1A-F6F6-4CE0-9C39-5A9EDDF3E28D}" srcOrd="6" destOrd="0" presId="urn:microsoft.com/office/officeart/2005/8/layout/orgChart1"/>
    <dgm:cxn modelId="{DC3463D4-E71B-43C6-A080-BE3CDF30E503}" type="presParOf" srcId="{E7A6EC15-6CDD-4FC2-A434-6AC3020DEBE1}" destId="{45D743E8-552D-450F-B188-F9AB9485CCCD}" srcOrd="7" destOrd="0" presId="urn:microsoft.com/office/officeart/2005/8/layout/orgChart1"/>
    <dgm:cxn modelId="{DB06F346-57A0-4FFA-BC37-B6DEBAD47C92}" type="presParOf" srcId="{45D743E8-552D-450F-B188-F9AB9485CCCD}" destId="{2B174986-B470-41F7-A56F-1C73818EBCA3}" srcOrd="0" destOrd="0" presId="urn:microsoft.com/office/officeart/2005/8/layout/orgChart1"/>
    <dgm:cxn modelId="{2FA4C1EA-98C3-418C-B89D-A24364609372}" type="presParOf" srcId="{2B174986-B470-41F7-A56F-1C73818EBCA3}" destId="{3C116627-DEF8-4980-AFCE-C4A29080FCF3}" srcOrd="0" destOrd="0" presId="urn:microsoft.com/office/officeart/2005/8/layout/orgChart1"/>
    <dgm:cxn modelId="{DA42D2CB-0AC3-4044-82D4-574C085B18F6}" type="presParOf" srcId="{2B174986-B470-41F7-A56F-1C73818EBCA3}" destId="{B5F6E3C9-A620-4EBB-91C3-B0EEFFA240F2}" srcOrd="1" destOrd="0" presId="urn:microsoft.com/office/officeart/2005/8/layout/orgChart1"/>
    <dgm:cxn modelId="{AD0524FD-E714-41D2-B5EA-ED4354892C25}" type="presParOf" srcId="{45D743E8-552D-450F-B188-F9AB9485CCCD}" destId="{065A1F5B-6644-448C-BE0B-9E1455DB153E}" srcOrd="1" destOrd="0" presId="urn:microsoft.com/office/officeart/2005/8/layout/orgChart1"/>
    <dgm:cxn modelId="{09A4869F-3E78-4832-B2E8-0F6F4C776FF0}" type="presParOf" srcId="{065A1F5B-6644-448C-BE0B-9E1455DB153E}" destId="{6DE04B17-E704-4C61-B571-D211C9BAA1DF}" srcOrd="0" destOrd="0" presId="urn:microsoft.com/office/officeart/2005/8/layout/orgChart1"/>
    <dgm:cxn modelId="{FCB889DA-B4FE-4A1B-A6E9-583BE90B8565}" type="presParOf" srcId="{065A1F5B-6644-448C-BE0B-9E1455DB153E}" destId="{54A8DAD8-5428-4114-9D1A-4AB6E56419EE}" srcOrd="1" destOrd="0" presId="urn:microsoft.com/office/officeart/2005/8/layout/orgChart1"/>
    <dgm:cxn modelId="{A804F9A6-ECFC-4F6E-9779-C7346C2DA3CE}" type="presParOf" srcId="{54A8DAD8-5428-4114-9D1A-4AB6E56419EE}" destId="{88091E85-F5B7-4D8E-A555-61C78B939BEE}" srcOrd="0" destOrd="0" presId="urn:microsoft.com/office/officeart/2005/8/layout/orgChart1"/>
    <dgm:cxn modelId="{E535CD02-6AE8-4B3D-B9FB-9C40E0696A1F}" type="presParOf" srcId="{88091E85-F5B7-4D8E-A555-61C78B939BEE}" destId="{0AB3C2AA-7A91-42D5-9223-7FDB822A48D5}" srcOrd="0" destOrd="0" presId="urn:microsoft.com/office/officeart/2005/8/layout/orgChart1"/>
    <dgm:cxn modelId="{0A595E36-6969-42F1-B506-807E09CBFED1}" type="presParOf" srcId="{88091E85-F5B7-4D8E-A555-61C78B939BEE}" destId="{374EEB96-439B-48AC-A08C-DEC7B21F5D94}" srcOrd="1" destOrd="0" presId="urn:microsoft.com/office/officeart/2005/8/layout/orgChart1"/>
    <dgm:cxn modelId="{617D888E-BF19-44BB-A910-D785C469D0F1}" type="presParOf" srcId="{54A8DAD8-5428-4114-9D1A-4AB6E56419EE}" destId="{40599C56-8CD8-477A-90D8-7B38293428E4}" srcOrd="1" destOrd="0" presId="urn:microsoft.com/office/officeart/2005/8/layout/orgChart1"/>
    <dgm:cxn modelId="{81D46E22-0BC1-40F7-A77E-60C15D7A361D}" type="presParOf" srcId="{54A8DAD8-5428-4114-9D1A-4AB6E56419EE}" destId="{6766EE79-0921-47CF-8D50-98E85D063322}" srcOrd="2" destOrd="0" presId="urn:microsoft.com/office/officeart/2005/8/layout/orgChart1"/>
    <dgm:cxn modelId="{17D0082B-BEFE-4C9C-BB4C-9D7B32B7DD73}" type="presParOf" srcId="{45D743E8-552D-450F-B188-F9AB9485CCCD}" destId="{EAC9F066-C840-47A6-B410-8B14F766B9AD}" srcOrd="2" destOrd="0" presId="urn:microsoft.com/office/officeart/2005/8/layout/orgChart1"/>
    <dgm:cxn modelId="{C2A5D54D-691C-4006-82BB-890BF674581B}" type="presParOf" srcId="{299C7BE5-1629-47D5-B18E-C33CF57C8C75}" destId="{0CD26F65-1F18-42C2-96FD-8B3F0E67C26D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BFBBF4-E65F-4F49-81D2-2971DF5E167B}">
      <dsp:nvSpPr>
        <dsp:cNvPr id="0" name=""/>
        <dsp:cNvSpPr/>
      </dsp:nvSpPr>
      <dsp:spPr>
        <a:xfrm>
          <a:off x="7134441" y="1825290"/>
          <a:ext cx="210442" cy="21611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61111"/>
              </a:lnTo>
              <a:lnTo>
                <a:pt x="210442" y="2161111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1CD75F-9226-4789-B4F9-EDE608653438}">
      <dsp:nvSpPr>
        <dsp:cNvPr id="0" name=""/>
        <dsp:cNvSpPr/>
      </dsp:nvSpPr>
      <dsp:spPr>
        <a:xfrm>
          <a:off x="7134441" y="1825290"/>
          <a:ext cx="204435" cy="15970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97085"/>
              </a:lnTo>
              <a:lnTo>
                <a:pt x="204435" y="1597085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9736AF-818E-4FF2-9E15-FD7F37337ED0}">
      <dsp:nvSpPr>
        <dsp:cNvPr id="0" name=""/>
        <dsp:cNvSpPr/>
      </dsp:nvSpPr>
      <dsp:spPr>
        <a:xfrm>
          <a:off x="7134441" y="1825290"/>
          <a:ext cx="194290" cy="10611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1161"/>
              </a:lnTo>
              <a:lnTo>
                <a:pt x="194290" y="1061161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3A0753-18A2-4F16-A7CB-9643502FC3A5}">
      <dsp:nvSpPr>
        <dsp:cNvPr id="0" name=""/>
        <dsp:cNvSpPr/>
      </dsp:nvSpPr>
      <dsp:spPr>
        <a:xfrm>
          <a:off x="7134441" y="1825290"/>
          <a:ext cx="199362" cy="5032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03263"/>
              </a:lnTo>
              <a:lnTo>
                <a:pt x="199362" y="503263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74D006-319D-43BA-ADE1-4656213CCE28}">
      <dsp:nvSpPr>
        <dsp:cNvPr id="0" name=""/>
        <dsp:cNvSpPr/>
      </dsp:nvSpPr>
      <dsp:spPr>
        <a:xfrm>
          <a:off x="5555388" y="1087697"/>
          <a:ext cx="2110687" cy="3026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3841"/>
              </a:lnTo>
              <a:lnTo>
                <a:pt x="2110687" y="153841"/>
              </a:lnTo>
              <a:lnTo>
                <a:pt x="2110687" y="302604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FCB83C5-096F-4BA5-B5A5-816431EE427C}">
      <dsp:nvSpPr>
        <dsp:cNvPr id="0" name=""/>
        <dsp:cNvSpPr/>
      </dsp:nvSpPr>
      <dsp:spPr>
        <a:xfrm>
          <a:off x="5135881" y="2350110"/>
          <a:ext cx="261354" cy="7894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89482"/>
              </a:lnTo>
              <a:lnTo>
                <a:pt x="261354" y="789482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313B8D-2E99-4939-B8B8-B590204F0228}">
      <dsp:nvSpPr>
        <dsp:cNvPr id="0" name=""/>
        <dsp:cNvSpPr/>
      </dsp:nvSpPr>
      <dsp:spPr>
        <a:xfrm>
          <a:off x="5555388" y="1087697"/>
          <a:ext cx="277438" cy="2975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8762"/>
              </a:lnTo>
              <a:lnTo>
                <a:pt x="277438" y="148762"/>
              </a:lnTo>
              <a:lnTo>
                <a:pt x="277438" y="297524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B688BA-D31E-4E1B-BC9C-E7EE5B0F5AC5}">
      <dsp:nvSpPr>
        <dsp:cNvPr id="0" name=""/>
        <dsp:cNvSpPr/>
      </dsp:nvSpPr>
      <dsp:spPr>
        <a:xfrm>
          <a:off x="2869774" y="1826763"/>
          <a:ext cx="239905" cy="23840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84067"/>
              </a:lnTo>
              <a:lnTo>
                <a:pt x="239905" y="2384067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9E0324-D00C-43DC-8CCD-7694140EA8BE}">
      <dsp:nvSpPr>
        <dsp:cNvPr id="0" name=""/>
        <dsp:cNvSpPr/>
      </dsp:nvSpPr>
      <dsp:spPr>
        <a:xfrm>
          <a:off x="2869774" y="1826763"/>
          <a:ext cx="239905" cy="14224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22424"/>
              </a:lnTo>
              <a:lnTo>
                <a:pt x="239905" y="1422424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D29D9B-B9F9-4FDD-A6DA-7142CAB7B036}">
      <dsp:nvSpPr>
        <dsp:cNvPr id="0" name=""/>
        <dsp:cNvSpPr/>
      </dsp:nvSpPr>
      <dsp:spPr>
        <a:xfrm>
          <a:off x="2869774" y="1826763"/>
          <a:ext cx="239905" cy="5709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70957"/>
              </a:lnTo>
              <a:lnTo>
                <a:pt x="239905" y="570957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D24F00-67D9-47B3-AF54-38E11457098F}">
      <dsp:nvSpPr>
        <dsp:cNvPr id="0" name=""/>
        <dsp:cNvSpPr/>
      </dsp:nvSpPr>
      <dsp:spPr>
        <a:xfrm>
          <a:off x="3525315" y="1087697"/>
          <a:ext cx="2030072" cy="300323"/>
        </a:xfrm>
        <a:custGeom>
          <a:avLst/>
          <a:gdLst/>
          <a:ahLst/>
          <a:cxnLst/>
          <a:rect l="0" t="0" r="0" b="0"/>
          <a:pathLst>
            <a:path>
              <a:moveTo>
                <a:pt x="2030072" y="0"/>
              </a:moveTo>
              <a:lnTo>
                <a:pt x="2030072" y="151560"/>
              </a:lnTo>
              <a:lnTo>
                <a:pt x="0" y="151560"/>
              </a:lnTo>
              <a:lnTo>
                <a:pt x="0" y="300323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18AB3B-5CD0-47BF-803F-82271AD4BCCA}">
      <dsp:nvSpPr>
        <dsp:cNvPr id="0" name=""/>
        <dsp:cNvSpPr/>
      </dsp:nvSpPr>
      <dsp:spPr>
        <a:xfrm>
          <a:off x="4649867" y="419910"/>
          <a:ext cx="905520" cy="2975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8762"/>
              </a:lnTo>
              <a:lnTo>
                <a:pt x="905520" y="148762"/>
              </a:lnTo>
              <a:lnTo>
                <a:pt x="905520" y="297524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1D20B-8B13-4EED-B870-F01ED3536DB5}">
      <dsp:nvSpPr>
        <dsp:cNvPr id="0" name=""/>
        <dsp:cNvSpPr/>
      </dsp:nvSpPr>
      <dsp:spPr>
        <a:xfrm>
          <a:off x="533493" y="1080734"/>
          <a:ext cx="329753" cy="30256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25690"/>
              </a:lnTo>
              <a:lnTo>
                <a:pt x="329753" y="3025690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D552C0-2B34-4453-9D15-FF4C0B487E1C}">
      <dsp:nvSpPr>
        <dsp:cNvPr id="0" name=""/>
        <dsp:cNvSpPr/>
      </dsp:nvSpPr>
      <dsp:spPr>
        <a:xfrm>
          <a:off x="533493" y="1080734"/>
          <a:ext cx="319609" cy="17704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70475"/>
              </a:lnTo>
              <a:lnTo>
                <a:pt x="319609" y="1770475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74846C-962C-4751-9752-B29775330646}">
      <dsp:nvSpPr>
        <dsp:cNvPr id="0" name=""/>
        <dsp:cNvSpPr/>
      </dsp:nvSpPr>
      <dsp:spPr>
        <a:xfrm>
          <a:off x="533493" y="1080734"/>
          <a:ext cx="344983" cy="5671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67110"/>
              </a:lnTo>
              <a:lnTo>
                <a:pt x="344983" y="567110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36683C-C111-4075-9B90-E213532C7A20}">
      <dsp:nvSpPr>
        <dsp:cNvPr id="0" name=""/>
        <dsp:cNvSpPr/>
      </dsp:nvSpPr>
      <dsp:spPr>
        <a:xfrm>
          <a:off x="1412835" y="419910"/>
          <a:ext cx="3237032" cy="297524"/>
        </a:xfrm>
        <a:custGeom>
          <a:avLst/>
          <a:gdLst/>
          <a:ahLst/>
          <a:cxnLst/>
          <a:rect l="0" t="0" r="0" b="0"/>
          <a:pathLst>
            <a:path>
              <a:moveTo>
                <a:pt x="3237032" y="0"/>
              </a:moveTo>
              <a:lnTo>
                <a:pt x="3237032" y="148762"/>
              </a:lnTo>
              <a:lnTo>
                <a:pt x="0" y="148762"/>
              </a:lnTo>
              <a:lnTo>
                <a:pt x="0" y="297524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5DDE58-48C4-452A-ADC7-B4B7B993DADF}">
      <dsp:nvSpPr>
        <dsp:cNvPr id="0" name=""/>
        <dsp:cNvSpPr/>
      </dsp:nvSpPr>
      <dsp:spPr>
        <a:xfrm>
          <a:off x="977503" y="180"/>
          <a:ext cx="7344728" cy="41972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i="0" kern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Практики МВ реализуемые в ДВНЦМС </a:t>
          </a:r>
          <a:endParaRPr lang="ru-RU" sz="2400" b="1" i="0" kern="1200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</dsp:txBody>
      <dsp:txXfrm>
        <a:off x="977503" y="180"/>
        <a:ext cx="7344728" cy="419729"/>
      </dsp:txXfrm>
    </dsp:sp>
    <dsp:sp modelId="{0FDA9043-037C-4EB1-A2EA-9DC85E3BCD99}">
      <dsp:nvSpPr>
        <dsp:cNvPr id="0" name=""/>
        <dsp:cNvSpPr/>
      </dsp:nvSpPr>
      <dsp:spPr>
        <a:xfrm>
          <a:off x="313658" y="717435"/>
          <a:ext cx="2198354" cy="36329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1" kern="1200" dirty="0">
              <a:latin typeface="Arial" pitchFamily="34" charset="0"/>
              <a:cs typeface="Arial" pitchFamily="34" charset="0"/>
            </a:rPr>
            <a:t>1. Воспроизводство активистов  и лидеров в городе </a:t>
          </a:r>
          <a:endParaRPr lang="ru-RU" sz="1000" b="1" kern="1200" dirty="0">
            <a:latin typeface="Arial" pitchFamily="34" charset="0"/>
            <a:cs typeface="Arial" pitchFamily="34" charset="0"/>
          </a:endParaRPr>
        </a:p>
      </dsp:txBody>
      <dsp:txXfrm>
        <a:off x="313658" y="717435"/>
        <a:ext cx="2198354" cy="363299"/>
      </dsp:txXfrm>
    </dsp:sp>
    <dsp:sp modelId="{ED876576-1F35-4A4E-A2CB-D0294CA23E7D}">
      <dsp:nvSpPr>
        <dsp:cNvPr id="0" name=""/>
        <dsp:cNvSpPr/>
      </dsp:nvSpPr>
      <dsp:spPr>
        <a:xfrm>
          <a:off x="878477" y="1279672"/>
          <a:ext cx="1539195" cy="73634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>
              <a:latin typeface="Arial" pitchFamily="34" charset="0"/>
              <a:cs typeface="Arial" pitchFamily="34" charset="0"/>
            </a:rPr>
            <a:t>1.1.Проведение </a:t>
          </a:r>
          <a:r>
            <a:rPr lang="ru-RU" sz="900" kern="1200" dirty="0" smtClean="0">
              <a:latin typeface="Arial" pitchFamily="34" charset="0"/>
              <a:cs typeface="Arial" pitchFamily="34" charset="0"/>
            </a:rPr>
            <a:t>ежегодного в </a:t>
          </a:r>
          <a:r>
            <a:rPr lang="ru-RU" sz="900" kern="1200" dirty="0">
              <a:latin typeface="Arial" pitchFamily="34" charset="0"/>
              <a:cs typeface="Arial" pitchFamily="34" charset="0"/>
            </a:rPr>
            <a:t>день  МСУ (21 апреля)  конкурса среди школьников                               </a:t>
          </a:r>
          <a:r>
            <a:rPr lang="ru-RU" sz="900" b="1" kern="1200" dirty="0">
              <a:latin typeface="Arial" pitchFamily="34" charset="0"/>
              <a:cs typeface="Arial" pitchFamily="34" charset="0"/>
            </a:rPr>
            <a:t>"Если бы я был мэром"  </a:t>
          </a:r>
        </a:p>
      </dsp:txBody>
      <dsp:txXfrm>
        <a:off x="878477" y="1279672"/>
        <a:ext cx="1539195" cy="736345"/>
      </dsp:txXfrm>
    </dsp:sp>
    <dsp:sp modelId="{B665094A-E056-45C1-8241-08CF539DF9F6}">
      <dsp:nvSpPr>
        <dsp:cNvPr id="0" name=""/>
        <dsp:cNvSpPr/>
      </dsp:nvSpPr>
      <dsp:spPr>
        <a:xfrm>
          <a:off x="853102" y="2215777"/>
          <a:ext cx="1563932" cy="1270863"/>
        </a:xfrm>
        <a:prstGeom prst="rect">
          <a:avLst/>
        </a:prstGeom>
        <a:solidFill>
          <a:srgbClr val="FFFF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Arial" pitchFamily="34" charset="0"/>
              <a:cs typeface="Arial" pitchFamily="34" charset="0"/>
            </a:rPr>
            <a:t>1.2 Внедрение </a:t>
          </a:r>
          <a:r>
            <a:rPr lang="ru-RU" sz="900" kern="1200" dirty="0">
              <a:latin typeface="Arial" pitchFamily="34" charset="0"/>
              <a:cs typeface="Arial" pitchFamily="34" charset="0"/>
            </a:rPr>
            <a:t>с 2012 года в школы города курса                          </a:t>
          </a:r>
          <a:r>
            <a:rPr lang="ru-RU" sz="900" b="1" kern="1200" dirty="0">
              <a:latin typeface="Arial" pitchFamily="34" charset="0"/>
              <a:cs typeface="Arial" pitchFamily="34" charset="0"/>
            </a:rPr>
            <a:t>"Основы участия детей </a:t>
          </a:r>
          <a:r>
            <a:rPr lang="ru-RU" sz="900" b="1" kern="1200" dirty="0" smtClean="0">
              <a:latin typeface="Arial" pitchFamily="34" charset="0"/>
              <a:cs typeface="Arial" pitchFamily="34" charset="0"/>
            </a:rPr>
            <a:t>               и </a:t>
          </a:r>
          <a:r>
            <a:rPr lang="ru-RU" sz="900" b="1" kern="1200" dirty="0">
              <a:latin typeface="Arial" pitchFamily="34" charset="0"/>
              <a:cs typeface="Arial" pitchFamily="34" charset="0"/>
            </a:rPr>
            <a:t>молодёжи в общественной жизни"                                                            </a:t>
          </a:r>
          <a:r>
            <a:rPr lang="ru-RU" sz="900" kern="1200" dirty="0">
              <a:latin typeface="Arial" pitchFamily="34" charset="0"/>
              <a:cs typeface="Arial" pitchFamily="34" charset="0"/>
            </a:rPr>
            <a:t>с итоговой работой - разработка социального проекта, направленного на решение актуальной  городской проблемы  </a:t>
          </a:r>
        </a:p>
      </dsp:txBody>
      <dsp:txXfrm>
        <a:off x="853102" y="2215777"/>
        <a:ext cx="1563932" cy="1270863"/>
      </dsp:txXfrm>
    </dsp:sp>
    <dsp:sp modelId="{4E1C9AE2-EA98-4192-B837-63489AAF2646}">
      <dsp:nvSpPr>
        <dsp:cNvPr id="0" name=""/>
        <dsp:cNvSpPr/>
      </dsp:nvSpPr>
      <dsp:spPr>
        <a:xfrm>
          <a:off x="863246" y="3668534"/>
          <a:ext cx="1628027" cy="87577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Arial" pitchFamily="34" charset="0"/>
              <a:cs typeface="Arial" pitchFamily="34" charset="0"/>
            </a:rPr>
            <a:t>1.3. Внедрение в школах курса «</a:t>
          </a:r>
          <a:r>
            <a:rPr lang="ru-RU" sz="900" b="1" kern="1200" dirty="0" smtClean="0">
              <a:latin typeface="Arial" pitchFamily="34" charset="0"/>
              <a:cs typeface="Arial" pitchFamily="34" charset="0"/>
            </a:rPr>
            <a:t>Основы </a:t>
          </a:r>
          <a:r>
            <a:rPr lang="ru-RU" sz="900" b="1" kern="1200" dirty="0" err="1" smtClean="0">
              <a:latin typeface="Arial" pitchFamily="34" charset="0"/>
              <a:cs typeface="Arial" pitchFamily="34" charset="0"/>
            </a:rPr>
            <a:t>самозанятости</a:t>
          </a:r>
          <a:r>
            <a:rPr lang="ru-RU" sz="900" b="1" kern="1200" dirty="0" smtClean="0">
              <a:latin typeface="Arial" pitchFamily="34" charset="0"/>
              <a:cs typeface="Arial" pitchFamily="34" charset="0"/>
            </a:rPr>
            <a:t> и предпринимательства» </a:t>
          </a:r>
          <a:r>
            <a:rPr lang="ru-RU" sz="900" kern="1200" dirty="0" smtClean="0">
              <a:latin typeface="Arial" pitchFamily="34" charset="0"/>
              <a:cs typeface="Arial" pitchFamily="34" charset="0"/>
            </a:rPr>
            <a:t>с разработкой проектов, направленных на оказание </a:t>
          </a:r>
          <a:r>
            <a:rPr lang="ru-RU" sz="900" kern="1200" dirty="0" err="1" smtClean="0">
              <a:latin typeface="Arial" pitchFamily="34" charset="0"/>
              <a:cs typeface="Arial" pitchFamily="34" charset="0"/>
            </a:rPr>
            <a:t>мун</a:t>
          </a:r>
          <a:r>
            <a:rPr lang="ru-RU" sz="900" kern="1200" dirty="0" smtClean="0">
              <a:latin typeface="Arial" pitchFamily="34" charset="0"/>
              <a:cs typeface="Arial" pitchFamily="34" charset="0"/>
            </a:rPr>
            <a:t>. бюджетных услуг </a:t>
          </a:r>
          <a:endParaRPr lang="ru-RU" sz="900" kern="1200" dirty="0">
            <a:latin typeface="Arial" pitchFamily="34" charset="0"/>
            <a:cs typeface="Arial" pitchFamily="34" charset="0"/>
          </a:endParaRPr>
        </a:p>
      </dsp:txBody>
      <dsp:txXfrm>
        <a:off x="863246" y="3668534"/>
        <a:ext cx="1628027" cy="875778"/>
      </dsp:txXfrm>
    </dsp:sp>
    <dsp:sp modelId="{8DFCB912-7AD4-4242-BCFF-6B315BFED99D}">
      <dsp:nvSpPr>
        <dsp:cNvPr id="0" name=""/>
        <dsp:cNvSpPr/>
      </dsp:nvSpPr>
      <dsp:spPr>
        <a:xfrm>
          <a:off x="3581324" y="717435"/>
          <a:ext cx="3948127" cy="370262"/>
        </a:xfrm>
        <a:prstGeom prst="rect">
          <a:avLst/>
        </a:prstGeom>
        <a:solidFill>
          <a:schemeClr val="bg1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i="1" kern="1200" dirty="0">
              <a:latin typeface="Arial" pitchFamily="34" charset="0"/>
              <a:cs typeface="Arial" pitchFamily="34" charset="0"/>
            </a:rPr>
            <a:t>2. Разработка  систем вовлечения населения (лидеров </a:t>
          </a:r>
          <a:r>
            <a:rPr lang="ru-RU" sz="1050" b="1" i="1" kern="1200" dirty="0" smtClean="0">
              <a:latin typeface="Arial" pitchFamily="34" charset="0"/>
              <a:cs typeface="Arial" pitchFamily="34" charset="0"/>
            </a:rPr>
            <a:t>             и </a:t>
          </a:r>
          <a:r>
            <a:rPr lang="ru-RU" sz="1050" b="1" i="1" kern="1200" dirty="0">
              <a:latin typeface="Arial" pitchFamily="34" charset="0"/>
              <a:cs typeface="Arial" pitchFamily="34" charset="0"/>
            </a:rPr>
            <a:t>активистов) в местное самоуправление </a:t>
          </a:r>
          <a:endParaRPr lang="ru-RU" sz="1050" b="1" kern="1200" dirty="0">
            <a:latin typeface="Arial" pitchFamily="34" charset="0"/>
            <a:cs typeface="Arial" pitchFamily="34" charset="0"/>
          </a:endParaRPr>
        </a:p>
      </dsp:txBody>
      <dsp:txXfrm>
        <a:off x="3581324" y="717435"/>
        <a:ext cx="3948127" cy="370262"/>
      </dsp:txXfrm>
    </dsp:sp>
    <dsp:sp modelId="{FBB50CC8-A842-4167-B60F-261A60F758A5}">
      <dsp:nvSpPr>
        <dsp:cNvPr id="0" name=""/>
        <dsp:cNvSpPr/>
      </dsp:nvSpPr>
      <dsp:spPr>
        <a:xfrm>
          <a:off x="2705889" y="1388020"/>
          <a:ext cx="1638852" cy="43874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>
              <a:latin typeface="Arial" pitchFamily="34" charset="0"/>
              <a:cs typeface="Arial" pitchFamily="34" charset="0"/>
            </a:rPr>
            <a:t>2.1.Участие граждан                             в стратегическом планировании </a:t>
          </a:r>
        </a:p>
      </dsp:txBody>
      <dsp:txXfrm>
        <a:off x="2705889" y="1388020"/>
        <a:ext cx="1638852" cy="438742"/>
      </dsp:txXfrm>
    </dsp:sp>
    <dsp:sp modelId="{9A6AAE14-9DDA-46C9-A371-B89BF76DE94A}">
      <dsp:nvSpPr>
        <dsp:cNvPr id="0" name=""/>
        <dsp:cNvSpPr/>
      </dsp:nvSpPr>
      <dsp:spPr>
        <a:xfrm>
          <a:off x="3109680" y="2121490"/>
          <a:ext cx="1554440" cy="552461"/>
        </a:xfrm>
        <a:prstGeom prst="rect">
          <a:avLst/>
        </a:prstGeom>
        <a:solidFill>
          <a:srgbClr val="FFFF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>
              <a:latin typeface="Arial" pitchFamily="34" charset="0"/>
              <a:cs typeface="Arial" pitchFamily="34" charset="0"/>
            </a:rPr>
            <a:t>2.1.1. Участие </a:t>
          </a:r>
          <a:r>
            <a:rPr lang="ru-RU" sz="900" kern="1200" dirty="0" smtClean="0">
              <a:latin typeface="Arial" pitchFamily="34" charset="0"/>
              <a:cs typeface="Arial" pitchFamily="34" charset="0"/>
            </a:rPr>
            <a:t>в </a:t>
          </a:r>
          <a:r>
            <a:rPr lang="ru-RU" sz="900" b="1" kern="1200" dirty="0">
              <a:latin typeface="Arial" pitchFamily="34" charset="0"/>
              <a:cs typeface="Arial" pitchFamily="34" charset="0"/>
            </a:rPr>
            <a:t>мониторинге муниципальных отраслевых рынков </a:t>
          </a:r>
        </a:p>
      </dsp:txBody>
      <dsp:txXfrm>
        <a:off x="3109680" y="2121490"/>
        <a:ext cx="1554440" cy="552461"/>
      </dsp:txXfrm>
    </dsp:sp>
    <dsp:sp modelId="{F0169B50-5D09-4E4D-8580-961F9FEFE071}">
      <dsp:nvSpPr>
        <dsp:cNvPr id="0" name=""/>
        <dsp:cNvSpPr/>
      </dsp:nvSpPr>
      <dsp:spPr>
        <a:xfrm>
          <a:off x="3109680" y="2805726"/>
          <a:ext cx="1554440" cy="886921"/>
        </a:xfrm>
        <a:prstGeom prst="rect">
          <a:avLst/>
        </a:prstGeom>
        <a:solidFill>
          <a:srgbClr val="FFFF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dirty="0">
              <a:latin typeface="Arial" pitchFamily="34" charset="0"/>
              <a:cs typeface="Arial" pitchFamily="34" charset="0"/>
            </a:rPr>
            <a:t>2.1.2. Участие в разработке </a:t>
          </a:r>
          <a:r>
            <a:rPr lang="ru-RU" sz="900" b="1" kern="1200" dirty="0" smtClean="0">
              <a:latin typeface="Arial" pitchFamily="34" charset="0"/>
              <a:cs typeface="Arial" pitchFamily="34" charset="0"/>
            </a:rPr>
            <a:t>механизмов </a:t>
          </a:r>
          <a:r>
            <a:rPr lang="ru-RU" sz="900" b="1" kern="1200" dirty="0">
              <a:latin typeface="Arial" pitchFamily="34" charset="0"/>
              <a:cs typeface="Arial" pitchFamily="34" charset="0"/>
            </a:rPr>
            <a:t>привлечения немуниципальных поставщиков  услуг                                     </a:t>
          </a:r>
          <a:r>
            <a:rPr lang="ru-RU" sz="900" b="0" kern="1200" dirty="0" smtClean="0">
              <a:latin typeface="Arial" pitchFamily="34" charset="0"/>
              <a:cs typeface="Arial" pitchFamily="34" charset="0"/>
            </a:rPr>
            <a:t>и создание благоприятного </a:t>
          </a:r>
          <a:r>
            <a:rPr lang="ru-RU" sz="900" b="1" kern="1200" dirty="0" smtClean="0">
              <a:latin typeface="Arial" pitchFamily="34" charset="0"/>
              <a:cs typeface="Arial" pitchFamily="34" charset="0"/>
            </a:rPr>
            <a:t>инвестиционного климата </a:t>
          </a:r>
          <a:endParaRPr lang="ru-RU" sz="900" b="1" kern="1200" dirty="0">
            <a:latin typeface="Arial" pitchFamily="34" charset="0"/>
            <a:cs typeface="Arial" pitchFamily="34" charset="0"/>
          </a:endParaRPr>
        </a:p>
      </dsp:txBody>
      <dsp:txXfrm>
        <a:off x="3109680" y="2805726"/>
        <a:ext cx="1554440" cy="886921"/>
      </dsp:txXfrm>
    </dsp:sp>
    <dsp:sp modelId="{EF9E14AC-CF93-4143-B5F9-C8688A49327A}">
      <dsp:nvSpPr>
        <dsp:cNvPr id="0" name=""/>
        <dsp:cNvSpPr/>
      </dsp:nvSpPr>
      <dsp:spPr>
        <a:xfrm>
          <a:off x="3109680" y="3812841"/>
          <a:ext cx="1554440" cy="795978"/>
        </a:xfrm>
        <a:prstGeom prst="rect">
          <a:avLst/>
        </a:prstGeom>
        <a:solidFill>
          <a:srgbClr val="FFFF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900" kern="1200" dirty="0" smtClean="0">
              <a:latin typeface="Arial" pitchFamily="34" charset="0"/>
              <a:cs typeface="Arial" pitchFamily="34" charset="0"/>
            </a:rPr>
            <a:t> 2.1.3. Участие в         реализации                     </a:t>
          </a:r>
          <a:r>
            <a:rPr lang="ru-RU" sz="900" b="1" kern="1200" dirty="0" smtClean="0">
              <a:latin typeface="Arial" pitchFamily="34" charset="0"/>
              <a:cs typeface="Arial" pitchFamily="34" charset="0"/>
            </a:rPr>
            <a:t>национальных (региональных) проектов 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900" b="1" kern="1200" dirty="0">
            <a:latin typeface="Arial" pitchFamily="34" charset="0"/>
            <a:cs typeface="Arial" pitchFamily="34" charset="0"/>
          </a:endParaRPr>
        </a:p>
      </dsp:txBody>
      <dsp:txXfrm>
        <a:off x="3109680" y="3812841"/>
        <a:ext cx="1554440" cy="795978"/>
      </dsp:txXfrm>
    </dsp:sp>
    <dsp:sp modelId="{BCB8FB69-5B57-4493-8AF3-AE76DA5580AA}">
      <dsp:nvSpPr>
        <dsp:cNvPr id="0" name=""/>
        <dsp:cNvSpPr/>
      </dsp:nvSpPr>
      <dsp:spPr>
        <a:xfrm>
          <a:off x="4961645" y="1385222"/>
          <a:ext cx="1742362" cy="96488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>
              <a:latin typeface="Arial" pitchFamily="34" charset="0"/>
              <a:cs typeface="Arial" pitchFamily="34" charset="0"/>
            </a:rPr>
            <a:t>2.2.Участие </a:t>
          </a:r>
          <a:r>
            <a:rPr lang="ru-RU" sz="900" kern="1200" dirty="0" smtClean="0">
              <a:latin typeface="Arial" pitchFamily="34" charset="0"/>
              <a:cs typeface="Arial" pitchFamily="34" charset="0"/>
            </a:rPr>
            <a:t>                                          в Общественной палате,                     в Общественных советах                  при </a:t>
          </a:r>
          <a:r>
            <a:rPr lang="ru-RU" sz="900" kern="1200" dirty="0">
              <a:latin typeface="Arial" pitchFamily="34" charset="0"/>
              <a:cs typeface="Arial" pitchFamily="34" charset="0"/>
            </a:rPr>
            <a:t>органах местного </a:t>
          </a:r>
          <a:r>
            <a:rPr lang="ru-RU" sz="900" kern="1200" dirty="0" smtClean="0">
              <a:latin typeface="Arial" pitchFamily="34" charset="0"/>
              <a:cs typeface="Arial" pitchFamily="34" charset="0"/>
            </a:rPr>
            <a:t>самоуправления,                                       в реализации национальных проектов   </a:t>
          </a:r>
          <a:endParaRPr lang="ru-RU" sz="900" kern="1200" dirty="0">
            <a:latin typeface="Arial" pitchFamily="34" charset="0"/>
            <a:cs typeface="Arial" pitchFamily="34" charset="0"/>
          </a:endParaRPr>
        </a:p>
      </dsp:txBody>
      <dsp:txXfrm>
        <a:off x="4961645" y="1385222"/>
        <a:ext cx="1742362" cy="964887"/>
      </dsp:txXfrm>
    </dsp:sp>
    <dsp:sp modelId="{9BFCA1CC-B89B-466C-BAE1-8E208D035D55}">
      <dsp:nvSpPr>
        <dsp:cNvPr id="0" name=""/>
        <dsp:cNvSpPr/>
      </dsp:nvSpPr>
      <dsp:spPr>
        <a:xfrm>
          <a:off x="5397235" y="2647634"/>
          <a:ext cx="1416785" cy="983914"/>
        </a:xfrm>
        <a:prstGeom prst="rect">
          <a:avLst/>
        </a:prstGeom>
        <a:solidFill>
          <a:schemeClr val="bg1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Arial" pitchFamily="34" charset="0"/>
              <a:cs typeface="Arial" pitchFamily="34" charset="0"/>
            </a:rPr>
            <a:t>Общественная                          палата Хабаровска   как институт вовлечения населения в решение вопросов местного значения   </a:t>
          </a:r>
          <a:endParaRPr lang="ru-RU" sz="1000" kern="1200" dirty="0">
            <a:latin typeface="Arial" pitchFamily="34" charset="0"/>
            <a:cs typeface="Arial" pitchFamily="34" charset="0"/>
          </a:endParaRPr>
        </a:p>
      </dsp:txBody>
      <dsp:txXfrm>
        <a:off x="5397235" y="2647634"/>
        <a:ext cx="1416785" cy="983914"/>
      </dsp:txXfrm>
    </dsp:sp>
    <dsp:sp modelId="{49185CA8-D3B4-4AD3-942A-D6CD00B892F9}">
      <dsp:nvSpPr>
        <dsp:cNvPr id="0" name=""/>
        <dsp:cNvSpPr/>
      </dsp:nvSpPr>
      <dsp:spPr>
        <a:xfrm>
          <a:off x="7001532" y="1390301"/>
          <a:ext cx="1329086" cy="43498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>
              <a:latin typeface="Arial" pitchFamily="34" charset="0"/>
              <a:cs typeface="Arial" pitchFamily="34" charset="0"/>
            </a:rPr>
            <a:t>2.3.Участие в экспертизах НПА</a:t>
          </a:r>
        </a:p>
      </dsp:txBody>
      <dsp:txXfrm>
        <a:off x="7001532" y="1390301"/>
        <a:ext cx="1329086" cy="434988"/>
      </dsp:txXfrm>
    </dsp:sp>
    <dsp:sp modelId="{BD534855-81AB-48F1-90B7-9A4084C4D6E0}">
      <dsp:nvSpPr>
        <dsp:cNvPr id="0" name=""/>
        <dsp:cNvSpPr/>
      </dsp:nvSpPr>
      <dsp:spPr>
        <a:xfrm>
          <a:off x="7333804" y="2117736"/>
          <a:ext cx="1416785" cy="42163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>
              <a:latin typeface="Arial" pitchFamily="34" charset="0"/>
              <a:cs typeface="Arial" pitchFamily="34" charset="0"/>
            </a:rPr>
            <a:t>2.3.1. Антикоррупционная экспертиза </a:t>
          </a:r>
        </a:p>
      </dsp:txBody>
      <dsp:txXfrm>
        <a:off x="7333804" y="2117736"/>
        <a:ext cx="1416785" cy="421635"/>
      </dsp:txXfrm>
    </dsp:sp>
    <dsp:sp modelId="{74237539-9252-4E33-840B-A720EBBBAB20}">
      <dsp:nvSpPr>
        <dsp:cNvPr id="0" name=""/>
        <dsp:cNvSpPr/>
      </dsp:nvSpPr>
      <dsp:spPr>
        <a:xfrm>
          <a:off x="7328732" y="2664324"/>
          <a:ext cx="1416785" cy="44425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>
              <a:latin typeface="Arial" pitchFamily="34" charset="0"/>
              <a:cs typeface="Arial" pitchFamily="34" charset="0"/>
            </a:rPr>
            <a:t>2.3.2. Оценка регулирующего воздействия </a:t>
          </a:r>
        </a:p>
      </dsp:txBody>
      <dsp:txXfrm>
        <a:off x="7328732" y="2664324"/>
        <a:ext cx="1416785" cy="444254"/>
      </dsp:txXfrm>
    </dsp:sp>
    <dsp:sp modelId="{4AA829C8-06BA-4B84-93E4-1E6F375486E3}">
      <dsp:nvSpPr>
        <dsp:cNvPr id="0" name=""/>
        <dsp:cNvSpPr/>
      </dsp:nvSpPr>
      <dsp:spPr>
        <a:xfrm>
          <a:off x="7338876" y="3218301"/>
          <a:ext cx="1416785" cy="40814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>
              <a:latin typeface="Arial" pitchFamily="34" charset="0"/>
              <a:cs typeface="Arial" pitchFamily="34" charset="0"/>
            </a:rPr>
            <a:t>2.3.3. Оценка фактического воздействия </a:t>
          </a:r>
        </a:p>
      </dsp:txBody>
      <dsp:txXfrm>
        <a:off x="7338876" y="3218301"/>
        <a:ext cx="1416785" cy="408147"/>
      </dsp:txXfrm>
    </dsp:sp>
    <dsp:sp modelId="{FE1410A3-5C04-48EC-B3D9-F0AD814BD0EB}">
      <dsp:nvSpPr>
        <dsp:cNvPr id="0" name=""/>
        <dsp:cNvSpPr/>
      </dsp:nvSpPr>
      <dsp:spPr>
        <a:xfrm>
          <a:off x="7344883" y="3747166"/>
          <a:ext cx="1416785" cy="47846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>
              <a:latin typeface="Arial" pitchFamily="34" charset="0"/>
              <a:cs typeface="Arial" pitchFamily="34" charset="0"/>
            </a:rPr>
            <a:t>2.3.4. </a:t>
          </a:r>
          <a:r>
            <a:rPr lang="ru-RU" sz="900" kern="1200" dirty="0" smtClean="0">
              <a:latin typeface="Arial" pitchFamily="34" charset="0"/>
              <a:cs typeface="Arial" pitchFamily="34" charset="0"/>
            </a:rPr>
            <a:t>Мониторинг состояния конкуренции  на приоритетных рынках </a:t>
          </a:r>
          <a:endParaRPr lang="ru-RU" sz="900" kern="1200" dirty="0">
            <a:latin typeface="Arial" pitchFamily="34" charset="0"/>
            <a:cs typeface="Arial" pitchFamily="34" charset="0"/>
          </a:endParaRPr>
        </a:p>
      </dsp:txBody>
      <dsp:txXfrm>
        <a:off x="7344883" y="3747166"/>
        <a:ext cx="1416785" cy="478469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5C404E-E034-469A-AAAA-B38EAB838D03}">
      <dsp:nvSpPr>
        <dsp:cNvPr id="0" name=""/>
        <dsp:cNvSpPr/>
      </dsp:nvSpPr>
      <dsp:spPr>
        <a:xfrm>
          <a:off x="3682603" y="582271"/>
          <a:ext cx="1656294" cy="5749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7456"/>
              </a:lnTo>
              <a:lnTo>
                <a:pt x="1656294" y="287456"/>
              </a:lnTo>
              <a:lnTo>
                <a:pt x="1656294" y="574912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495B164-D75D-4BE5-A3A9-1E1C87BFAA80}">
      <dsp:nvSpPr>
        <dsp:cNvPr id="0" name=""/>
        <dsp:cNvSpPr/>
      </dsp:nvSpPr>
      <dsp:spPr>
        <a:xfrm>
          <a:off x="1755209" y="582271"/>
          <a:ext cx="1927393" cy="574912"/>
        </a:xfrm>
        <a:custGeom>
          <a:avLst/>
          <a:gdLst/>
          <a:ahLst/>
          <a:cxnLst/>
          <a:rect l="0" t="0" r="0" b="0"/>
          <a:pathLst>
            <a:path>
              <a:moveTo>
                <a:pt x="1927393" y="0"/>
              </a:moveTo>
              <a:lnTo>
                <a:pt x="1927393" y="287456"/>
              </a:lnTo>
              <a:lnTo>
                <a:pt x="0" y="287456"/>
              </a:lnTo>
              <a:lnTo>
                <a:pt x="0" y="574912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30CA92-4F25-43CB-9D55-3D62C28F63F0}">
      <dsp:nvSpPr>
        <dsp:cNvPr id="0" name=""/>
        <dsp:cNvSpPr/>
      </dsp:nvSpPr>
      <dsp:spPr>
        <a:xfrm>
          <a:off x="2313764" y="706"/>
          <a:ext cx="2737677" cy="58156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>
              <a:solidFill>
                <a:srgbClr val="C00000"/>
              </a:solidFill>
              <a:latin typeface="Arial" pitchFamily="34" charset="0"/>
              <a:ea typeface="+mn-ea"/>
              <a:cs typeface="Arial" pitchFamily="34" charset="0"/>
            </a:rPr>
            <a:t>Этап 3  </a:t>
          </a:r>
          <a:endParaRPr lang="ru-RU" sz="2400" kern="1200" dirty="0">
            <a:solidFill>
              <a:srgbClr val="C00000"/>
            </a:solidFill>
            <a:latin typeface="Arial" pitchFamily="34" charset="0"/>
            <a:ea typeface="+mn-ea"/>
            <a:cs typeface="Arial" pitchFamily="34" charset="0"/>
          </a:endParaRPr>
        </a:p>
      </dsp:txBody>
      <dsp:txXfrm>
        <a:off x="2313764" y="706"/>
        <a:ext cx="2737677" cy="581564"/>
      </dsp:txXfrm>
    </dsp:sp>
    <dsp:sp modelId="{AB63546D-F8C2-4B40-B5AE-5A7DAC8785F6}">
      <dsp:nvSpPr>
        <dsp:cNvPr id="0" name=""/>
        <dsp:cNvSpPr/>
      </dsp:nvSpPr>
      <dsp:spPr>
        <a:xfrm>
          <a:off x="386371" y="1157183"/>
          <a:ext cx="2737677" cy="101981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Вариант 1.  </a:t>
          </a:r>
          <a:r>
            <a:rPr lang="ru-RU" sz="1400" kern="1200" dirty="0" smtClean="0">
              <a:latin typeface="Arial" pitchFamily="34" charset="0"/>
              <a:cs typeface="Arial" pitchFamily="34" charset="0"/>
            </a:rPr>
            <a:t>Изучить механизм участия в мероприятиях    региональных проектов                     и воспользоваться им   </a:t>
          </a:r>
          <a:endParaRPr lang="ru-RU" sz="1400" kern="1200" dirty="0">
            <a:latin typeface="Arial" pitchFamily="34" charset="0"/>
            <a:cs typeface="Arial" pitchFamily="34" charset="0"/>
          </a:endParaRPr>
        </a:p>
      </dsp:txBody>
      <dsp:txXfrm>
        <a:off x="386371" y="1157183"/>
        <a:ext cx="2737677" cy="1019812"/>
      </dsp:txXfrm>
    </dsp:sp>
    <dsp:sp modelId="{0BEE86AA-20D3-40EB-B894-EED039D5ECD8}">
      <dsp:nvSpPr>
        <dsp:cNvPr id="0" name=""/>
        <dsp:cNvSpPr/>
      </dsp:nvSpPr>
      <dsp:spPr>
        <a:xfrm>
          <a:off x="3698960" y="1157183"/>
          <a:ext cx="3279874" cy="96193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Вариант 2. </a:t>
          </a:r>
          <a:r>
            <a:rPr lang="ru-RU" sz="1400" kern="1200" dirty="0" smtClean="0">
              <a:latin typeface="Arial" pitchFamily="34" charset="0"/>
              <a:cs typeface="Arial" pitchFamily="34" charset="0"/>
            </a:rPr>
            <a:t>Сначала добиться, чтобы приоритетные мероприятия вошли в региональный проект, а потом воспользоваться ими</a:t>
          </a:r>
          <a:endParaRPr lang="ru-RU" sz="1400" kern="1200" dirty="0">
            <a:latin typeface="Arial" pitchFamily="34" charset="0"/>
            <a:cs typeface="Arial" pitchFamily="34" charset="0"/>
          </a:endParaRPr>
        </a:p>
      </dsp:txBody>
      <dsp:txXfrm>
        <a:off x="3698960" y="1157183"/>
        <a:ext cx="3279874" cy="96193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B0B051-B552-430A-B822-73D6FA10D4C1}">
      <dsp:nvSpPr>
        <dsp:cNvPr id="0" name=""/>
        <dsp:cNvSpPr/>
      </dsp:nvSpPr>
      <dsp:spPr>
        <a:xfrm>
          <a:off x="2200620" y="1519879"/>
          <a:ext cx="209318" cy="21666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97177"/>
              </a:lnTo>
              <a:lnTo>
                <a:pt x="345791" y="2697177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B1CC15-081A-43B4-A566-44BF7960C5E3}">
      <dsp:nvSpPr>
        <dsp:cNvPr id="0" name=""/>
        <dsp:cNvSpPr/>
      </dsp:nvSpPr>
      <dsp:spPr>
        <a:xfrm>
          <a:off x="2200620" y="1519879"/>
          <a:ext cx="193310" cy="7375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60428"/>
              </a:lnTo>
              <a:lnTo>
                <a:pt x="345791" y="1060428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766E04-AB40-4C90-B85A-2DD54E32A4B7}">
      <dsp:nvSpPr>
        <dsp:cNvPr id="0" name=""/>
        <dsp:cNvSpPr/>
      </dsp:nvSpPr>
      <dsp:spPr>
        <a:xfrm>
          <a:off x="2361547" y="663848"/>
          <a:ext cx="566205" cy="3698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42054"/>
              </a:lnTo>
              <a:lnTo>
                <a:pt x="1394694" y="242054"/>
              </a:lnTo>
              <a:lnTo>
                <a:pt x="1394694" y="484108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558350-94C1-404B-A440-846C1C8BD86C}">
      <dsp:nvSpPr>
        <dsp:cNvPr id="0" name=""/>
        <dsp:cNvSpPr/>
      </dsp:nvSpPr>
      <dsp:spPr>
        <a:xfrm>
          <a:off x="235982" y="1560833"/>
          <a:ext cx="253854" cy="27526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52684"/>
              </a:lnTo>
              <a:lnTo>
                <a:pt x="253854" y="2752684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23A6CA-8F4A-482B-874A-A7055B8DBA3E}">
      <dsp:nvSpPr>
        <dsp:cNvPr id="0" name=""/>
        <dsp:cNvSpPr/>
      </dsp:nvSpPr>
      <dsp:spPr>
        <a:xfrm>
          <a:off x="235982" y="1560833"/>
          <a:ext cx="253854" cy="18192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19251"/>
              </a:lnTo>
              <a:lnTo>
                <a:pt x="253854" y="1819251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A7776E-8B85-4795-8F6E-F051B86EA04C}">
      <dsp:nvSpPr>
        <dsp:cNvPr id="0" name=""/>
        <dsp:cNvSpPr/>
      </dsp:nvSpPr>
      <dsp:spPr>
        <a:xfrm>
          <a:off x="235982" y="1560833"/>
          <a:ext cx="253854" cy="6776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50250"/>
              </a:lnTo>
              <a:lnTo>
                <a:pt x="347013" y="1050250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091779-A3F4-499D-8E3A-95CD769CAC92}">
      <dsp:nvSpPr>
        <dsp:cNvPr id="0" name=""/>
        <dsp:cNvSpPr/>
      </dsp:nvSpPr>
      <dsp:spPr>
        <a:xfrm>
          <a:off x="911158" y="663848"/>
          <a:ext cx="1450389" cy="369835"/>
        </a:xfrm>
        <a:custGeom>
          <a:avLst/>
          <a:gdLst/>
          <a:ahLst/>
          <a:cxnLst/>
          <a:rect l="0" t="0" r="0" b="0"/>
          <a:pathLst>
            <a:path>
              <a:moveTo>
                <a:pt x="1395916" y="0"/>
              </a:moveTo>
              <a:lnTo>
                <a:pt x="1395916" y="252232"/>
              </a:lnTo>
              <a:lnTo>
                <a:pt x="0" y="252232"/>
              </a:lnTo>
              <a:lnTo>
                <a:pt x="0" y="494286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DFF083-664F-419B-B5F1-9FFBE275C46E}">
      <dsp:nvSpPr>
        <dsp:cNvPr id="0" name=""/>
        <dsp:cNvSpPr/>
      </dsp:nvSpPr>
      <dsp:spPr>
        <a:xfrm>
          <a:off x="1298392" y="2482"/>
          <a:ext cx="2126310" cy="661365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Arial" pitchFamily="34" charset="0"/>
            </a:rPr>
            <a:t>Варианты внедрения               образовательного модуля                                                  </a:t>
          </a:r>
          <a:r>
            <a:rPr lang="ru-RU" sz="105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Arial" pitchFamily="34" charset="0"/>
            </a:rPr>
            <a:t>"Основы </a:t>
          </a:r>
          <a:r>
            <a:rPr lang="ru-RU" sz="1050" b="1" kern="1200" dirty="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Arial" pitchFamily="34" charset="0"/>
            </a:rPr>
            <a:t>самозанятости</a:t>
          </a:r>
          <a:r>
            <a:rPr lang="ru-RU" sz="105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Arial" pitchFamily="34" charset="0"/>
            </a:rPr>
            <a:t> </a:t>
          </a:r>
          <a:r>
            <a:rPr lang="ru-RU" sz="105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+mj-lt"/>
              <a:ea typeface="+mn-ea"/>
              <a:cs typeface="Arial" pitchFamily="34" charset="0"/>
            </a:rPr>
            <a:t>"</a:t>
          </a:r>
          <a:endParaRPr lang="ru-RU" sz="105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+mj-lt"/>
            <a:ea typeface="+mn-ea"/>
            <a:cs typeface="Arial" pitchFamily="34" charset="0"/>
          </a:endParaRPr>
        </a:p>
      </dsp:txBody>
      <dsp:txXfrm>
        <a:off x="1298392" y="2482"/>
        <a:ext cx="2126310" cy="661365"/>
      </dsp:txXfrm>
    </dsp:sp>
    <dsp:sp modelId="{F1DE3BBD-0312-4359-9B0C-3023DDBA6AFA}">
      <dsp:nvSpPr>
        <dsp:cNvPr id="0" name=""/>
        <dsp:cNvSpPr/>
      </dsp:nvSpPr>
      <dsp:spPr>
        <a:xfrm>
          <a:off x="67189" y="1033683"/>
          <a:ext cx="1687938" cy="527149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В общеобразовательных учреждениях</a:t>
          </a:r>
        </a:p>
      </dsp:txBody>
      <dsp:txXfrm>
        <a:off x="67189" y="1033683"/>
        <a:ext cx="1687938" cy="527149"/>
      </dsp:txXfrm>
    </dsp:sp>
    <dsp:sp modelId="{2F2B9F78-DF71-4B6E-A9C5-B66ED2D87466}">
      <dsp:nvSpPr>
        <dsp:cNvPr id="0" name=""/>
        <dsp:cNvSpPr/>
      </dsp:nvSpPr>
      <dsp:spPr>
        <a:xfrm>
          <a:off x="489837" y="1717088"/>
          <a:ext cx="1497831" cy="1042712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знакомительный уровень </a:t>
          </a:r>
          <a:r>
            <a:rPr lang="ru-RU" sz="9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</a:t>
          </a:r>
          <a:r>
            <a:rPr lang="ru-RU" sz="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в </a:t>
          </a:r>
          <a:r>
            <a:rPr lang="ru-RU" sz="9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сновной </a:t>
          </a:r>
          <a:r>
            <a:rPr lang="ru-RU" sz="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                школе в </a:t>
          </a:r>
          <a:r>
            <a:rPr lang="ru-RU" sz="9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рамках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1) предмета "</a:t>
          </a:r>
          <a:r>
            <a:rPr lang="ru-RU" sz="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Технология</a:t>
          </a:r>
          <a:r>
            <a:rPr lang="ru-RU" sz="9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" 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2) Кружковой работы в </a:t>
          </a:r>
          <a:r>
            <a:rPr lang="ru-RU" sz="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    целях </a:t>
          </a:r>
          <a:r>
            <a:rPr lang="ru-RU" sz="9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сознанного </a:t>
          </a:r>
          <a:r>
            <a:rPr lang="ru-RU" sz="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                   выбора </a:t>
          </a:r>
          <a:r>
            <a:rPr lang="ru-RU" sz="9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офиля  </a:t>
          </a:r>
        </a:p>
      </dsp:txBody>
      <dsp:txXfrm>
        <a:off x="489837" y="1717088"/>
        <a:ext cx="1497831" cy="1042712"/>
      </dsp:txXfrm>
    </dsp:sp>
    <dsp:sp modelId="{E3FFDB34-9B1A-4D24-9093-301D761E1D13}">
      <dsp:nvSpPr>
        <dsp:cNvPr id="0" name=""/>
        <dsp:cNvSpPr/>
      </dsp:nvSpPr>
      <dsp:spPr>
        <a:xfrm>
          <a:off x="489837" y="3022847"/>
          <a:ext cx="1535121" cy="71447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сновной уровень                                           </a:t>
          </a:r>
          <a:r>
            <a:rPr lang="ru-RU" sz="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в средней школе                                в профильных экономических классах </a:t>
          </a:r>
          <a:r>
            <a:rPr lang="ru-RU" sz="8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"Основы </a:t>
          </a:r>
          <a:r>
            <a:rPr lang="ru-RU" sz="800" kern="1200" dirty="0" err="1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самозанятости</a:t>
          </a:r>
          <a:r>
            <a:rPr lang="ru-RU" sz="8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и   предпринимательства" </a:t>
          </a:r>
          <a:endParaRPr lang="ru-RU" sz="800" kern="1200" dirty="0"/>
        </a:p>
      </dsp:txBody>
      <dsp:txXfrm>
        <a:off x="489837" y="3022847"/>
        <a:ext cx="1535121" cy="714475"/>
      </dsp:txXfrm>
    </dsp:sp>
    <dsp:sp modelId="{04379EEA-44C3-4332-BA63-655736CD0F97}">
      <dsp:nvSpPr>
        <dsp:cNvPr id="0" name=""/>
        <dsp:cNvSpPr/>
      </dsp:nvSpPr>
      <dsp:spPr>
        <a:xfrm>
          <a:off x="489837" y="4000368"/>
          <a:ext cx="1561864" cy="62629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latin typeface="Arial" pitchFamily="34" charset="0"/>
              <a:cs typeface="Arial" pitchFamily="34" charset="0"/>
            </a:rPr>
            <a:t>В рамках нового предмета </a:t>
          </a:r>
          <a:r>
            <a:rPr lang="ru-RU" sz="900" b="1" kern="1200" dirty="0" smtClean="0">
              <a:latin typeface="Arial" pitchFamily="34" charset="0"/>
              <a:cs typeface="Arial" pitchFamily="34" charset="0"/>
            </a:rPr>
            <a:t>«Индивидуальный                     проект»</a:t>
          </a:r>
          <a:endParaRPr lang="ru-RU" sz="900" b="1" kern="1200" dirty="0">
            <a:latin typeface="Arial" pitchFamily="34" charset="0"/>
            <a:cs typeface="Arial" pitchFamily="34" charset="0"/>
          </a:endParaRPr>
        </a:p>
      </dsp:txBody>
      <dsp:txXfrm>
        <a:off x="489837" y="4000368"/>
        <a:ext cx="1561864" cy="626298"/>
      </dsp:txXfrm>
    </dsp:sp>
    <dsp:sp modelId="{D676C4ED-EF9D-4967-B436-53A99AE5A1EF}">
      <dsp:nvSpPr>
        <dsp:cNvPr id="0" name=""/>
        <dsp:cNvSpPr/>
      </dsp:nvSpPr>
      <dsp:spPr>
        <a:xfrm>
          <a:off x="2018836" y="1033683"/>
          <a:ext cx="1817832" cy="486195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В учреждениях </a:t>
          </a:r>
          <a:endParaRPr lang="ru-RU" sz="900" b="0" kern="1200" dirty="0" smtClean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itchFamily="34" charset="0"/>
            <a:ea typeface="+mn-ea"/>
            <a:cs typeface="Arial" pitchFamily="34" charset="0"/>
          </a:endParaRP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дополнительного </a:t>
          </a:r>
          <a:r>
            <a:rPr lang="ru-RU" sz="900" b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бразования </a:t>
          </a:r>
        </a:p>
      </dsp:txBody>
      <dsp:txXfrm>
        <a:off x="2018836" y="1033683"/>
        <a:ext cx="1817832" cy="486195"/>
      </dsp:txXfrm>
    </dsp:sp>
    <dsp:sp modelId="{D4E4AA9D-A765-4B0C-BC7A-8487D414E3C0}">
      <dsp:nvSpPr>
        <dsp:cNvPr id="0" name=""/>
        <dsp:cNvSpPr/>
      </dsp:nvSpPr>
      <dsp:spPr>
        <a:xfrm>
          <a:off x="2393930" y="1661680"/>
          <a:ext cx="1459351" cy="1191402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i="0" kern="1200" dirty="0">
              <a:latin typeface="Arial" pitchFamily="34" charset="0"/>
              <a:cs typeface="Arial" pitchFamily="34" charset="0"/>
            </a:rPr>
            <a:t>Общеразвивающая  программа </a:t>
          </a:r>
          <a:r>
            <a:rPr lang="ru-RU" sz="800" b="0" i="0" kern="1200" dirty="0" smtClean="0">
              <a:latin typeface="Arial" pitchFamily="34" charset="0"/>
              <a:cs typeface="Arial" pitchFamily="34" charset="0"/>
            </a:rPr>
            <a:t>в </a:t>
          </a:r>
          <a:r>
            <a:rPr lang="ru-RU" sz="800" b="0" i="0" kern="1200" dirty="0">
              <a:latin typeface="Arial" pitchFamily="34" charset="0"/>
              <a:cs typeface="Arial" pitchFamily="34" charset="0"/>
            </a:rPr>
            <a:t>том </a:t>
          </a:r>
          <a:r>
            <a:rPr lang="ru-RU" sz="800" b="0" i="0" kern="1200" dirty="0" smtClean="0">
              <a:latin typeface="Arial" pitchFamily="34" charset="0"/>
              <a:cs typeface="Arial" pitchFamily="34" charset="0"/>
            </a:rPr>
            <a:t>числе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i="0" kern="1200" dirty="0" smtClean="0">
              <a:latin typeface="Arial" pitchFamily="34" charset="0"/>
              <a:cs typeface="Arial" pitchFamily="34" charset="0"/>
            </a:rPr>
            <a:t>1</a:t>
          </a:r>
          <a:r>
            <a:rPr lang="ru-RU" sz="800" i="0" kern="1200" dirty="0">
              <a:latin typeface="Arial" pitchFamily="34" charset="0"/>
              <a:cs typeface="Arial" pitchFamily="34" charset="0"/>
            </a:rPr>
            <a:t>) Ознакомительный </a:t>
          </a:r>
          <a:r>
            <a:rPr lang="ru-RU" sz="800" i="0" kern="1200" dirty="0" smtClean="0">
              <a:latin typeface="Arial" pitchFamily="34" charset="0"/>
              <a:cs typeface="Arial" pitchFamily="34" charset="0"/>
            </a:rPr>
            <a:t>уровень для </a:t>
          </a:r>
          <a:r>
            <a:rPr lang="ru-RU" sz="800" i="0" kern="1200" dirty="0">
              <a:latin typeface="Arial" pitchFamily="34" charset="0"/>
              <a:cs typeface="Arial" pitchFamily="34" charset="0"/>
            </a:rPr>
            <a:t>всех желающих 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i="0" kern="1200" dirty="0">
              <a:latin typeface="Arial" pitchFamily="34" charset="0"/>
              <a:cs typeface="Arial" pitchFamily="34" charset="0"/>
            </a:rPr>
            <a:t>2) Учебный  уровень  </a:t>
          </a:r>
          <a:r>
            <a:rPr lang="ru-RU" sz="800" i="0" kern="1200" dirty="0" smtClean="0">
              <a:latin typeface="Arial" pitchFamily="34" charset="0"/>
              <a:cs typeface="Arial" pitchFamily="34" charset="0"/>
            </a:rPr>
            <a:t>-                      </a:t>
          </a:r>
          <a:r>
            <a:rPr lang="ru-RU" sz="800" i="0" kern="1200" dirty="0">
              <a:latin typeface="Arial" pitchFamily="34" charset="0"/>
              <a:cs typeface="Arial" pitchFamily="34" charset="0"/>
            </a:rPr>
            <a:t>для тех, кто освоил ознакомительный уровень  </a:t>
          </a:r>
          <a:endParaRPr lang="ru-RU" sz="800" i="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itchFamily="34" charset="0"/>
            <a:ea typeface="+mn-ea"/>
            <a:cs typeface="Arial" pitchFamily="34" charset="0"/>
          </a:endParaRPr>
        </a:p>
      </dsp:txBody>
      <dsp:txXfrm>
        <a:off x="2393930" y="1661680"/>
        <a:ext cx="1459351" cy="1191402"/>
      </dsp:txXfrm>
    </dsp:sp>
    <dsp:sp modelId="{E89CE5CB-1149-4EA4-B343-36759791C76C}">
      <dsp:nvSpPr>
        <dsp:cNvPr id="0" name=""/>
        <dsp:cNvSpPr/>
      </dsp:nvSpPr>
      <dsp:spPr>
        <a:xfrm>
          <a:off x="2409938" y="3130583"/>
          <a:ext cx="1449644" cy="1111805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i="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</a:t>
          </a:r>
          <a:r>
            <a:rPr lang="ru-RU" sz="800" b="1" i="0" kern="1200" dirty="0">
              <a:latin typeface="Arial" pitchFamily="34" charset="0"/>
              <a:cs typeface="Arial" pitchFamily="34" charset="0"/>
            </a:rPr>
            <a:t>Предпрофессиональная программа                                               </a:t>
          </a:r>
          <a:r>
            <a:rPr lang="ru-RU" sz="800" b="0" i="0" kern="1200" dirty="0">
              <a:latin typeface="Arial" pitchFamily="34" charset="0"/>
              <a:cs typeface="Arial" pitchFamily="34" charset="0"/>
            </a:rPr>
            <a:t>в том числе </a:t>
          </a:r>
          <a:r>
            <a:rPr lang="ru-RU" sz="800" i="0" kern="1200" dirty="0">
              <a:latin typeface="Arial" pitchFamily="34" charset="0"/>
              <a:cs typeface="Arial" pitchFamily="34" charset="0"/>
            </a:rPr>
            <a:t>поддержка детей, проявивших выдающиеся способности</a:t>
          </a:r>
          <a:r>
            <a:rPr lang="ru-RU" sz="800" b="1" i="0" kern="1200" dirty="0">
              <a:latin typeface="Arial" pitchFamily="34" charset="0"/>
              <a:cs typeface="Arial" pitchFamily="34" charset="0"/>
            </a:rPr>
            <a:t> 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0" i="0" kern="1200" dirty="0">
              <a:latin typeface="Arial" pitchFamily="34" charset="0"/>
              <a:cs typeface="Arial" pitchFamily="34" charset="0"/>
            </a:rPr>
            <a:t> - для тех, кто освоил общеразвивающую </a:t>
          </a:r>
          <a:r>
            <a:rPr lang="ru-RU" sz="800" b="0" i="0" kern="1200" dirty="0" smtClean="0">
              <a:latin typeface="Arial" pitchFamily="34" charset="0"/>
              <a:cs typeface="Arial" pitchFamily="34" charset="0"/>
            </a:rPr>
            <a:t>программу </a:t>
          </a:r>
          <a:endParaRPr lang="ru-RU" sz="800" b="1" i="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itchFamily="34" charset="0"/>
            <a:ea typeface="+mn-ea"/>
            <a:cs typeface="Arial" pitchFamily="34" charset="0"/>
          </a:endParaRPr>
        </a:p>
      </dsp:txBody>
      <dsp:txXfrm>
        <a:off x="2409938" y="3130583"/>
        <a:ext cx="1449644" cy="1111805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BF6F71-FC75-4B12-89B3-0AFF445C628B}">
      <dsp:nvSpPr>
        <dsp:cNvPr id="0" name=""/>
        <dsp:cNvSpPr/>
      </dsp:nvSpPr>
      <dsp:spPr>
        <a:xfrm>
          <a:off x="1860071" y="763202"/>
          <a:ext cx="746690" cy="2152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7643"/>
              </a:lnTo>
              <a:lnTo>
                <a:pt x="746690" y="107643"/>
              </a:lnTo>
              <a:lnTo>
                <a:pt x="746690" y="215286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F8C03E-E3EF-49AE-BD50-AFBB4DEE62C3}">
      <dsp:nvSpPr>
        <dsp:cNvPr id="0" name=""/>
        <dsp:cNvSpPr/>
      </dsp:nvSpPr>
      <dsp:spPr>
        <a:xfrm>
          <a:off x="710672" y="763202"/>
          <a:ext cx="1149398" cy="215286"/>
        </a:xfrm>
        <a:custGeom>
          <a:avLst/>
          <a:gdLst/>
          <a:ahLst/>
          <a:cxnLst/>
          <a:rect l="0" t="0" r="0" b="0"/>
          <a:pathLst>
            <a:path>
              <a:moveTo>
                <a:pt x="1149398" y="0"/>
              </a:moveTo>
              <a:lnTo>
                <a:pt x="1149398" y="107643"/>
              </a:lnTo>
              <a:lnTo>
                <a:pt x="0" y="107643"/>
              </a:lnTo>
              <a:lnTo>
                <a:pt x="0" y="215286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C30914-20E3-4E4D-B41B-71C0270A9498}">
      <dsp:nvSpPr>
        <dsp:cNvPr id="0" name=""/>
        <dsp:cNvSpPr/>
      </dsp:nvSpPr>
      <dsp:spPr>
        <a:xfrm>
          <a:off x="181154" y="57150"/>
          <a:ext cx="3357832" cy="70605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Федеральный проект  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"Улучшение условий ведения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предпринимательской деятельности"</a:t>
          </a:r>
        </a:p>
      </dsp:txBody>
      <dsp:txXfrm>
        <a:off x="181154" y="57150"/>
        <a:ext cx="3357832" cy="706052"/>
      </dsp:txXfrm>
    </dsp:sp>
    <dsp:sp modelId="{0F8C0C89-9E1B-4E2A-8667-77F13C44910D}">
      <dsp:nvSpPr>
        <dsp:cNvPr id="0" name=""/>
        <dsp:cNvSpPr/>
      </dsp:nvSpPr>
      <dsp:spPr>
        <a:xfrm>
          <a:off x="65474" y="978488"/>
          <a:ext cx="1290396" cy="12555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latin typeface="Arial" pitchFamily="34" charset="0"/>
              <a:cs typeface="Arial" pitchFamily="34" charset="0"/>
            </a:rPr>
            <a:t>Задача </a:t>
          </a:r>
          <a:r>
            <a:rPr lang="ru-RU" sz="800" b="1" kern="1200" dirty="0">
              <a:latin typeface="Arial" pitchFamily="34" charset="0"/>
              <a:cs typeface="Arial" pitchFamily="34" charset="0"/>
            </a:rPr>
            <a:t>1.</a:t>
          </a:r>
          <a:endParaRPr lang="ru-RU" sz="800" kern="1200" dirty="0">
            <a:latin typeface="Arial" pitchFamily="34" charset="0"/>
            <a:cs typeface="Arial" pitchFamily="34" charset="0"/>
          </a:endParaRP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itchFamily="34" charset="0"/>
              <a:cs typeface="Arial" pitchFamily="34" charset="0"/>
            </a:rPr>
            <a:t>Улучшение условий ведения предпринимательской деятельности, включая упрощение налоговой отчетности для предпринимателей, применяющих контрольно-кассовую технику</a:t>
          </a:r>
        </a:p>
      </dsp:txBody>
      <dsp:txXfrm>
        <a:off x="65474" y="978488"/>
        <a:ext cx="1290396" cy="1255591"/>
      </dsp:txXfrm>
    </dsp:sp>
    <dsp:sp modelId="{834C9AA0-5CE9-4253-9A9E-CF2B65B4B406}">
      <dsp:nvSpPr>
        <dsp:cNvPr id="0" name=""/>
        <dsp:cNvSpPr/>
      </dsp:nvSpPr>
      <dsp:spPr>
        <a:xfrm>
          <a:off x="1500952" y="978488"/>
          <a:ext cx="2211616" cy="126045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>
              <a:latin typeface="Arial" pitchFamily="34" charset="0"/>
              <a:cs typeface="Arial" pitchFamily="34" charset="0"/>
            </a:rPr>
            <a:t>Задача 2</a:t>
          </a:r>
          <a:r>
            <a:rPr lang="ru-RU" sz="800" kern="1200" dirty="0">
              <a:latin typeface="Arial" pitchFamily="34" charset="0"/>
              <a:cs typeface="Arial" pitchFamily="34" charset="0"/>
            </a:rPr>
            <a:t>. 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>
              <a:latin typeface="Arial" pitchFamily="34" charset="0"/>
              <a:cs typeface="Arial" pitchFamily="34" charset="0"/>
            </a:rPr>
            <a:t>Обеспечение благоприятных условий осуществления деятельности </a:t>
          </a:r>
          <a:r>
            <a:rPr lang="ru-RU" sz="800" b="1" kern="1200" dirty="0" err="1">
              <a:latin typeface="Arial" pitchFamily="34" charset="0"/>
              <a:cs typeface="Arial" pitchFamily="34" charset="0"/>
            </a:rPr>
            <a:t>самозанятыми</a:t>
          </a:r>
          <a:r>
            <a:rPr lang="ru-RU" sz="800" b="1" kern="1200" dirty="0">
              <a:latin typeface="Arial" pitchFamily="34" charset="0"/>
              <a:cs typeface="Arial" pitchFamily="34" charset="0"/>
            </a:rPr>
            <a:t> гражданами </a:t>
          </a:r>
          <a:r>
            <a:rPr lang="ru-RU" sz="800" kern="1200" dirty="0">
              <a:latin typeface="Arial" pitchFamily="34" charset="0"/>
              <a:cs typeface="Arial" pitchFamily="34" charset="0"/>
            </a:rPr>
            <a:t>посредством  создания нового режима налогообложения, предусматривающего  передачу </a:t>
          </a:r>
          <a:r>
            <a:rPr lang="ru-RU" sz="800" kern="1200" dirty="0" smtClean="0">
              <a:latin typeface="Arial" pitchFamily="34" charset="0"/>
              <a:cs typeface="Arial" pitchFamily="34" charset="0"/>
            </a:rPr>
            <a:t>информации   </a:t>
          </a:r>
          <a:r>
            <a:rPr lang="ru-RU" sz="800" kern="1200" dirty="0">
              <a:latin typeface="Arial" pitchFamily="34" charset="0"/>
              <a:cs typeface="Arial" pitchFamily="34" charset="0"/>
            </a:rPr>
            <a:t>о продажах в налоговые органы РФ в автоматическом режиме, освобождение от обязанности представлять отчетность, а </a:t>
          </a:r>
          <a:r>
            <a:rPr lang="ru-RU" sz="800" kern="1200" dirty="0" smtClean="0">
              <a:latin typeface="Arial" pitchFamily="34" charset="0"/>
              <a:cs typeface="Arial" pitchFamily="34" charset="0"/>
            </a:rPr>
            <a:t>        также </a:t>
          </a:r>
          <a:r>
            <a:rPr lang="ru-RU" sz="800" kern="1200" dirty="0">
              <a:latin typeface="Arial" pitchFamily="34" charset="0"/>
              <a:cs typeface="Arial" pitchFamily="34" charset="0"/>
            </a:rPr>
            <a:t>уплату единого платежа с выручки, включающего в себя страховые </a:t>
          </a:r>
        </a:p>
      </dsp:txBody>
      <dsp:txXfrm>
        <a:off x="1500952" y="978488"/>
        <a:ext cx="2211616" cy="1260455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BF6F71-FC75-4B12-89B3-0AFF445C628B}">
      <dsp:nvSpPr>
        <dsp:cNvPr id="0" name=""/>
        <dsp:cNvSpPr/>
      </dsp:nvSpPr>
      <dsp:spPr>
        <a:xfrm>
          <a:off x="1908212" y="743186"/>
          <a:ext cx="658307" cy="2264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241"/>
              </a:lnTo>
              <a:lnTo>
                <a:pt x="658307" y="113241"/>
              </a:lnTo>
              <a:lnTo>
                <a:pt x="658307" y="226483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F8C03E-E3EF-49AE-BD50-AFBB4DEE62C3}">
      <dsp:nvSpPr>
        <dsp:cNvPr id="0" name=""/>
        <dsp:cNvSpPr/>
      </dsp:nvSpPr>
      <dsp:spPr>
        <a:xfrm>
          <a:off x="699031" y="743186"/>
          <a:ext cx="1209180" cy="226483"/>
        </a:xfrm>
        <a:custGeom>
          <a:avLst/>
          <a:gdLst/>
          <a:ahLst/>
          <a:cxnLst/>
          <a:rect l="0" t="0" r="0" b="0"/>
          <a:pathLst>
            <a:path>
              <a:moveTo>
                <a:pt x="1209180" y="0"/>
              </a:moveTo>
              <a:lnTo>
                <a:pt x="1209180" y="113241"/>
              </a:lnTo>
              <a:lnTo>
                <a:pt x="0" y="113241"/>
              </a:lnTo>
              <a:lnTo>
                <a:pt x="0" y="226483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C30914-20E3-4E4D-B41B-71C0270A9498}">
      <dsp:nvSpPr>
        <dsp:cNvPr id="0" name=""/>
        <dsp:cNvSpPr/>
      </dsp:nvSpPr>
      <dsp:spPr>
        <a:xfrm>
          <a:off x="141973" y="411"/>
          <a:ext cx="3532477" cy="74277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Федеральный проект 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«Популяризация </a:t>
          </a:r>
          <a:endParaRPr lang="ru-RU" sz="1200" b="1" kern="1200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Предпринимательства»</a:t>
          </a:r>
          <a:endParaRPr lang="ru-RU" sz="1200" b="1" kern="1200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</dsp:txBody>
      <dsp:txXfrm>
        <a:off x="141973" y="411"/>
        <a:ext cx="3532477" cy="742774"/>
      </dsp:txXfrm>
    </dsp:sp>
    <dsp:sp modelId="{0F8C0C89-9E1B-4E2A-8667-77F13C44910D}">
      <dsp:nvSpPr>
        <dsp:cNvPr id="0" name=""/>
        <dsp:cNvSpPr/>
      </dsp:nvSpPr>
      <dsp:spPr>
        <a:xfrm>
          <a:off x="147495" y="969670"/>
          <a:ext cx="1103072" cy="132089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latin typeface="Arial" pitchFamily="34" charset="0"/>
              <a:cs typeface="Arial" pitchFamily="34" charset="0"/>
            </a:rPr>
            <a:t>Задача </a:t>
          </a:r>
          <a:r>
            <a:rPr lang="ru-RU" sz="1000" b="1" kern="1200" dirty="0">
              <a:latin typeface="Arial" pitchFamily="34" charset="0"/>
              <a:cs typeface="Arial" pitchFamily="34" charset="0"/>
            </a:rPr>
            <a:t>1</a:t>
          </a:r>
          <a:r>
            <a:rPr lang="ru-RU" sz="800" b="1" kern="1200" dirty="0">
              <a:latin typeface="Arial" pitchFamily="34" charset="0"/>
              <a:cs typeface="Arial" pitchFamily="34" charset="0"/>
            </a:rPr>
            <a:t>.</a:t>
          </a:r>
          <a:endParaRPr lang="ru-RU" sz="800" kern="1200" dirty="0">
            <a:latin typeface="Arial" pitchFamily="34" charset="0"/>
            <a:cs typeface="Arial" pitchFamily="34" charset="0"/>
          </a:endParaRP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latin typeface="Arial" pitchFamily="34" charset="0"/>
              <a:cs typeface="Arial" pitchFamily="34" charset="0"/>
            </a:rPr>
            <a:t>Формирование положительного образа предпринимателя</a:t>
          </a:r>
          <a:endParaRPr lang="ru-RU" sz="1000" kern="1200" dirty="0">
            <a:latin typeface="Arial" pitchFamily="34" charset="0"/>
            <a:cs typeface="Arial" pitchFamily="34" charset="0"/>
          </a:endParaRPr>
        </a:p>
      </dsp:txBody>
      <dsp:txXfrm>
        <a:off x="147495" y="969670"/>
        <a:ext cx="1103072" cy="1320896"/>
      </dsp:txXfrm>
    </dsp:sp>
    <dsp:sp modelId="{834C9AA0-5CE9-4253-9A9E-CF2B65B4B406}">
      <dsp:nvSpPr>
        <dsp:cNvPr id="0" name=""/>
        <dsp:cNvSpPr/>
      </dsp:nvSpPr>
      <dsp:spPr>
        <a:xfrm>
          <a:off x="1403196" y="969670"/>
          <a:ext cx="2326645" cy="132601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>
              <a:latin typeface="Arial" pitchFamily="34" charset="0"/>
              <a:cs typeface="Arial" pitchFamily="34" charset="0"/>
            </a:rPr>
            <a:t>Задача </a:t>
          </a:r>
          <a:r>
            <a:rPr lang="ru-RU" sz="1000" b="1" kern="1200" dirty="0" smtClean="0">
              <a:latin typeface="Arial" pitchFamily="34" charset="0"/>
              <a:cs typeface="Arial" pitchFamily="34" charset="0"/>
            </a:rPr>
            <a:t>2.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 dirty="0" smtClean="0">
              <a:latin typeface="Arial" pitchFamily="34" charset="0"/>
              <a:cs typeface="Arial" pitchFamily="34" charset="0"/>
            </a:rPr>
            <a:t> Выявление предпринимательских способностей и вовлечение в предпринимательскую      деятельность лиц, имеющих предпринимательский потенциал                     и (или) мотивацию                                 к созданию собственного бизнеса</a:t>
          </a:r>
          <a:r>
            <a:rPr lang="ru-RU" sz="800" kern="1200" dirty="0" smtClean="0">
              <a:latin typeface="Arial" pitchFamily="34" charset="0"/>
              <a:cs typeface="Arial" pitchFamily="34" charset="0"/>
            </a:rPr>
            <a:t>.</a:t>
          </a:r>
          <a:r>
            <a:rPr lang="ru-RU" sz="800" b="1" kern="1200" dirty="0" smtClean="0">
              <a:latin typeface="Arial" pitchFamily="34" charset="0"/>
              <a:cs typeface="Arial" pitchFamily="34" charset="0"/>
            </a:rPr>
            <a:t> </a:t>
          </a:r>
          <a:endParaRPr lang="ru-RU" sz="800" kern="1200" dirty="0">
            <a:latin typeface="Arial" pitchFamily="34" charset="0"/>
            <a:cs typeface="Arial" pitchFamily="34" charset="0"/>
          </a:endParaRPr>
        </a:p>
      </dsp:txBody>
      <dsp:txXfrm>
        <a:off x="1403196" y="969670"/>
        <a:ext cx="2326645" cy="13260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ED6BD0-0450-4D2B-94B9-CD37F8652BD4}">
      <dsp:nvSpPr>
        <dsp:cNvPr id="0" name=""/>
        <dsp:cNvSpPr/>
      </dsp:nvSpPr>
      <dsp:spPr>
        <a:xfrm>
          <a:off x="2598067" y="185429"/>
          <a:ext cx="1015570" cy="341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Региональные проекты </a:t>
          </a:r>
          <a:endParaRPr lang="ru-RU" sz="1100" kern="1200" dirty="0"/>
        </a:p>
      </dsp:txBody>
      <dsp:txXfrm>
        <a:off x="2598067" y="185429"/>
        <a:ext cx="1015570" cy="920558"/>
      </dsp:txXfrm>
    </dsp:sp>
    <dsp:sp modelId="{BBDEF70A-50B4-4B17-BA39-5B0876FCF49F}">
      <dsp:nvSpPr>
        <dsp:cNvPr id="0" name=""/>
        <dsp:cNvSpPr/>
      </dsp:nvSpPr>
      <dsp:spPr>
        <a:xfrm>
          <a:off x="1413234" y="160761"/>
          <a:ext cx="1015570" cy="346450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Федеральные проекты </a:t>
          </a:r>
          <a:endParaRPr lang="ru-RU" sz="1100" kern="1200" dirty="0"/>
        </a:p>
      </dsp:txBody>
      <dsp:txXfrm>
        <a:off x="1413234" y="160761"/>
        <a:ext cx="1015570" cy="947347"/>
      </dsp:txXfrm>
    </dsp:sp>
    <dsp:sp modelId="{EA5AF553-9687-45E9-971C-58F649A535F3}">
      <dsp:nvSpPr>
        <dsp:cNvPr id="0" name=""/>
        <dsp:cNvSpPr/>
      </dsp:nvSpPr>
      <dsp:spPr>
        <a:xfrm>
          <a:off x="177197" y="191586"/>
          <a:ext cx="1066775" cy="340285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/>
            <a:t>Национальный  проект </a:t>
          </a:r>
          <a:endParaRPr lang="ru-RU" sz="1100" kern="1200" dirty="0"/>
        </a:p>
      </dsp:txBody>
      <dsp:txXfrm>
        <a:off x="177197" y="191586"/>
        <a:ext cx="1066775" cy="913931"/>
      </dsp:txXfrm>
    </dsp:sp>
    <dsp:sp modelId="{023C1C32-E98E-4DF4-80CC-8D0E98687F2B}">
      <dsp:nvSpPr>
        <dsp:cNvPr id="0" name=""/>
        <dsp:cNvSpPr/>
      </dsp:nvSpPr>
      <dsp:spPr>
        <a:xfrm>
          <a:off x="261828" y="2175561"/>
          <a:ext cx="919853" cy="4231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Демография </a:t>
          </a:r>
          <a:endParaRPr lang="ru-RU" sz="1200" kern="1200" dirty="0"/>
        </a:p>
      </dsp:txBody>
      <dsp:txXfrm>
        <a:off x="274222" y="2187955"/>
        <a:ext cx="895065" cy="398366"/>
      </dsp:txXfrm>
    </dsp:sp>
    <dsp:sp modelId="{C9C64458-EEF2-456B-B510-C3FF7A3B7A41}">
      <dsp:nvSpPr>
        <dsp:cNvPr id="0" name=""/>
        <dsp:cNvSpPr/>
      </dsp:nvSpPr>
      <dsp:spPr>
        <a:xfrm rot="17167282">
          <a:off x="741370" y="1791518"/>
          <a:ext cx="1219144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1219144" y="10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1320464" y="1771059"/>
        <a:ext cx="60957" cy="60957"/>
      </dsp:txXfrm>
    </dsp:sp>
    <dsp:sp modelId="{E68BFD4E-9C59-4363-8DFD-C5C5DF17A14B}">
      <dsp:nvSpPr>
        <dsp:cNvPr id="0" name=""/>
        <dsp:cNvSpPr/>
      </dsp:nvSpPr>
      <dsp:spPr>
        <a:xfrm>
          <a:off x="1520204" y="1004359"/>
          <a:ext cx="846308" cy="4231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 dirty="0" smtClean="0"/>
            <a:t>Федеральный проект 1 </a:t>
          </a:r>
          <a:endParaRPr lang="ru-RU" sz="1050" kern="1200" dirty="0"/>
        </a:p>
      </dsp:txBody>
      <dsp:txXfrm>
        <a:off x="1532598" y="1016753"/>
        <a:ext cx="821520" cy="398366"/>
      </dsp:txXfrm>
    </dsp:sp>
    <dsp:sp modelId="{2C7D457A-0E67-4158-9D4B-165AC1A4BAF0}">
      <dsp:nvSpPr>
        <dsp:cNvPr id="0" name=""/>
        <dsp:cNvSpPr/>
      </dsp:nvSpPr>
      <dsp:spPr>
        <a:xfrm rot="1289">
          <a:off x="2366513" y="1205980"/>
          <a:ext cx="338523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338523" y="100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" kern="1200"/>
        </a:p>
      </dsp:txBody>
      <dsp:txXfrm>
        <a:off x="2527312" y="1207536"/>
        <a:ext cx="16926" cy="16926"/>
      </dsp:txXfrm>
    </dsp:sp>
    <dsp:sp modelId="{3A1116E9-2A7F-4450-A8CD-E31B8C162222}">
      <dsp:nvSpPr>
        <dsp:cNvPr id="0" name=""/>
        <dsp:cNvSpPr/>
      </dsp:nvSpPr>
      <dsp:spPr>
        <a:xfrm>
          <a:off x="2705037" y="1004486"/>
          <a:ext cx="764403" cy="423154"/>
        </a:xfrm>
        <a:prstGeom prst="roundRect">
          <a:avLst>
            <a:gd name="adj" fmla="val 10000"/>
          </a:avLst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Региональный  проект </a:t>
          </a:r>
          <a:endParaRPr lang="ru-RU" sz="900" kern="1200" dirty="0"/>
        </a:p>
      </dsp:txBody>
      <dsp:txXfrm>
        <a:off x="2717431" y="1016880"/>
        <a:ext cx="739615" cy="398366"/>
      </dsp:txXfrm>
    </dsp:sp>
    <dsp:sp modelId="{83F2EF84-21B5-4ACB-928A-E2DE7BCA7AD1}">
      <dsp:nvSpPr>
        <dsp:cNvPr id="0" name=""/>
        <dsp:cNvSpPr/>
      </dsp:nvSpPr>
      <dsp:spPr>
        <a:xfrm rot="8949">
          <a:off x="3469439" y="1206549"/>
          <a:ext cx="388524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388524" y="100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" kern="1200"/>
        </a:p>
      </dsp:txBody>
      <dsp:txXfrm>
        <a:off x="3653988" y="1206855"/>
        <a:ext cx="19426" cy="19426"/>
      </dsp:txXfrm>
    </dsp:sp>
    <dsp:sp modelId="{9B7C4B26-0237-45EE-9560-9486F1F8FC6E}">
      <dsp:nvSpPr>
        <dsp:cNvPr id="0" name=""/>
        <dsp:cNvSpPr/>
      </dsp:nvSpPr>
      <dsp:spPr>
        <a:xfrm>
          <a:off x="3857963" y="1005497"/>
          <a:ext cx="1457953" cy="423154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Финансовая поддержка семьи при рождении  детей </a:t>
          </a:r>
          <a:endParaRPr lang="ru-RU" sz="8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sp:txBody>
      <dsp:txXfrm>
        <a:off x="3870357" y="1017891"/>
        <a:ext cx="1433165" cy="398366"/>
      </dsp:txXfrm>
    </dsp:sp>
    <dsp:sp modelId="{F62F0BA9-54F3-442C-9975-BF12688DEC1C}">
      <dsp:nvSpPr>
        <dsp:cNvPr id="0" name=""/>
        <dsp:cNvSpPr/>
      </dsp:nvSpPr>
      <dsp:spPr>
        <a:xfrm rot="18289469">
          <a:off x="1054546" y="2133805"/>
          <a:ext cx="592793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592793" y="10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1336123" y="2129005"/>
        <a:ext cx="29639" cy="29639"/>
      </dsp:txXfrm>
    </dsp:sp>
    <dsp:sp modelId="{5CCF0B61-EE2C-45F9-B337-779545BF6403}">
      <dsp:nvSpPr>
        <dsp:cNvPr id="0" name=""/>
        <dsp:cNvSpPr/>
      </dsp:nvSpPr>
      <dsp:spPr>
        <a:xfrm>
          <a:off x="1520204" y="1688934"/>
          <a:ext cx="846308" cy="4231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 dirty="0" smtClean="0"/>
            <a:t>Федеральный проект 2</a:t>
          </a:r>
          <a:endParaRPr lang="ru-RU" sz="1050" kern="1200" dirty="0"/>
        </a:p>
      </dsp:txBody>
      <dsp:txXfrm>
        <a:off x="1532598" y="1701328"/>
        <a:ext cx="821520" cy="398366"/>
      </dsp:txXfrm>
    </dsp:sp>
    <dsp:sp modelId="{2C1E3150-BD4E-4C69-8F6F-302F70D8E79D}">
      <dsp:nvSpPr>
        <dsp:cNvPr id="0" name=""/>
        <dsp:cNvSpPr/>
      </dsp:nvSpPr>
      <dsp:spPr>
        <a:xfrm>
          <a:off x="2366513" y="1890491"/>
          <a:ext cx="338523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338523" y="100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2527312" y="1892048"/>
        <a:ext cx="16926" cy="16926"/>
      </dsp:txXfrm>
    </dsp:sp>
    <dsp:sp modelId="{9843C3FE-99C2-4CEF-866E-FB5151A6D7AA}">
      <dsp:nvSpPr>
        <dsp:cNvPr id="0" name=""/>
        <dsp:cNvSpPr/>
      </dsp:nvSpPr>
      <dsp:spPr>
        <a:xfrm>
          <a:off x="2705037" y="1688934"/>
          <a:ext cx="846308" cy="4231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Региональный проект </a:t>
          </a:r>
          <a:endParaRPr lang="ru-RU" sz="1000" kern="1200" dirty="0"/>
        </a:p>
      </dsp:txBody>
      <dsp:txXfrm>
        <a:off x="2717431" y="1701328"/>
        <a:ext cx="821520" cy="398366"/>
      </dsp:txXfrm>
    </dsp:sp>
    <dsp:sp modelId="{7C882E0D-8545-4B17-B01E-E0443A60315E}">
      <dsp:nvSpPr>
        <dsp:cNvPr id="0" name=""/>
        <dsp:cNvSpPr/>
      </dsp:nvSpPr>
      <dsp:spPr>
        <a:xfrm>
          <a:off x="3551346" y="1890491"/>
          <a:ext cx="338523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338523" y="100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3712144" y="1892048"/>
        <a:ext cx="16926" cy="16926"/>
      </dsp:txXfrm>
    </dsp:sp>
    <dsp:sp modelId="{CB7B6421-1EE7-4030-8EAB-53374CA32105}">
      <dsp:nvSpPr>
        <dsp:cNvPr id="0" name=""/>
        <dsp:cNvSpPr/>
      </dsp:nvSpPr>
      <dsp:spPr>
        <a:xfrm>
          <a:off x="3889869" y="1620700"/>
          <a:ext cx="1431785" cy="559621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Содействие занятости женщин - доступность дошкольного                  образования для детей в возрасте до трех лет</a:t>
          </a:r>
          <a:endParaRPr lang="ru-RU" sz="800" kern="1200" dirty="0"/>
        </a:p>
      </dsp:txBody>
      <dsp:txXfrm>
        <a:off x="3906260" y="1637091"/>
        <a:ext cx="1399003" cy="526839"/>
      </dsp:txXfrm>
    </dsp:sp>
    <dsp:sp modelId="{33B3037F-0353-40D5-9455-4B45D53CB1D9}">
      <dsp:nvSpPr>
        <dsp:cNvPr id="0" name=""/>
        <dsp:cNvSpPr/>
      </dsp:nvSpPr>
      <dsp:spPr>
        <a:xfrm rot="683759">
          <a:off x="1178277" y="2411236"/>
          <a:ext cx="345331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345331" y="10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1342309" y="2412622"/>
        <a:ext cx="17266" cy="17266"/>
      </dsp:txXfrm>
    </dsp:sp>
    <dsp:sp modelId="{BB5169AC-9A36-4BC3-A7D9-233B66538575}">
      <dsp:nvSpPr>
        <dsp:cNvPr id="0" name=""/>
        <dsp:cNvSpPr/>
      </dsp:nvSpPr>
      <dsp:spPr>
        <a:xfrm>
          <a:off x="1520204" y="2243795"/>
          <a:ext cx="846308" cy="4231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 dirty="0" smtClean="0"/>
            <a:t>Федеральный проект 3 </a:t>
          </a:r>
          <a:endParaRPr lang="ru-RU" sz="1050" kern="1200" dirty="0"/>
        </a:p>
      </dsp:txBody>
      <dsp:txXfrm>
        <a:off x="1532598" y="2256189"/>
        <a:ext cx="821520" cy="398366"/>
      </dsp:txXfrm>
    </dsp:sp>
    <dsp:sp modelId="{0A8AFBFC-A36F-444E-B697-C2725DA9DF5F}">
      <dsp:nvSpPr>
        <dsp:cNvPr id="0" name=""/>
        <dsp:cNvSpPr/>
      </dsp:nvSpPr>
      <dsp:spPr>
        <a:xfrm>
          <a:off x="2366513" y="2445353"/>
          <a:ext cx="338523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338523" y="100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2527312" y="2446909"/>
        <a:ext cx="16926" cy="16926"/>
      </dsp:txXfrm>
    </dsp:sp>
    <dsp:sp modelId="{7ECDFFBE-8588-46E7-ABB4-AC1FD0289920}">
      <dsp:nvSpPr>
        <dsp:cNvPr id="0" name=""/>
        <dsp:cNvSpPr/>
      </dsp:nvSpPr>
      <dsp:spPr>
        <a:xfrm>
          <a:off x="2705037" y="2243795"/>
          <a:ext cx="846308" cy="4231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Региональный проект </a:t>
          </a:r>
          <a:endParaRPr lang="ru-RU" sz="1000" kern="1200" dirty="0"/>
        </a:p>
      </dsp:txBody>
      <dsp:txXfrm>
        <a:off x="2717431" y="2256189"/>
        <a:ext cx="821520" cy="398366"/>
      </dsp:txXfrm>
    </dsp:sp>
    <dsp:sp modelId="{21B1B2B0-AF42-450D-9390-056297485BB9}">
      <dsp:nvSpPr>
        <dsp:cNvPr id="0" name=""/>
        <dsp:cNvSpPr/>
      </dsp:nvSpPr>
      <dsp:spPr>
        <a:xfrm>
          <a:off x="3551346" y="2445353"/>
          <a:ext cx="338523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338523" y="100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" kern="1200"/>
        </a:p>
      </dsp:txBody>
      <dsp:txXfrm>
        <a:off x="3712144" y="2446909"/>
        <a:ext cx="16926" cy="16926"/>
      </dsp:txXfrm>
    </dsp:sp>
    <dsp:sp modelId="{52CD3E92-CF1E-4C82-A5A5-A55870C64127}">
      <dsp:nvSpPr>
        <dsp:cNvPr id="0" name=""/>
        <dsp:cNvSpPr/>
      </dsp:nvSpPr>
      <dsp:spPr>
        <a:xfrm>
          <a:off x="3889869" y="2243795"/>
          <a:ext cx="1453493" cy="423154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>
              <a:solidFill>
                <a:srgbClr val="002060"/>
              </a:solidFill>
            </a:rPr>
            <a:t>Старшее поколение </a:t>
          </a:r>
          <a:endParaRPr lang="ru-RU" sz="1100" b="1" kern="1200" dirty="0">
            <a:solidFill>
              <a:srgbClr val="002060"/>
            </a:solidFill>
          </a:endParaRPr>
        </a:p>
      </dsp:txBody>
      <dsp:txXfrm>
        <a:off x="3902263" y="2256189"/>
        <a:ext cx="1428705" cy="398366"/>
      </dsp:txXfrm>
    </dsp:sp>
    <dsp:sp modelId="{7F5EF9FB-E1F7-4423-B582-8883FF340FEC}">
      <dsp:nvSpPr>
        <dsp:cNvPr id="0" name=""/>
        <dsp:cNvSpPr/>
      </dsp:nvSpPr>
      <dsp:spPr>
        <a:xfrm rot="3516746">
          <a:off x="1025954" y="2654549"/>
          <a:ext cx="649976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649976" y="10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1334693" y="2648320"/>
        <a:ext cx="32498" cy="32498"/>
      </dsp:txXfrm>
    </dsp:sp>
    <dsp:sp modelId="{B970E819-BD34-4AFA-9090-5E1906F1CDC0}">
      <dsp:nvSpPr>
        <dsp:cNvPr id="0" name=""/>
        <dsp:cNvSpPr/>
      </dsp:nvSpPr>
      <dsp:spPr>
        <a:xfrm>
          <a:off x="1520204" y="2730422"/>
          <a:ext cx="846308" cy="4231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 dirty="0" smtClean="0"/>
            <a:t>Федеральный проект 4</a:t>
          </a:r>
          <a:endParaRPr lang="ru-RU" sz="1050" kern="1200" dirty="0"/>
        </a:p>
      </dsp:txBody>
      <dsp:txXfrm>
        <a:off x="1532598" y="2742816"/>
        <a:ext cx="821520" cy="398366"/>
      </dsp:txXfrm>
    </dsp:sp>
    <dsp:sp modelId="{85BAB9CD-2C56-4249-B027-D302141AC5D1}">
      <dsp:nvSpPr>
        <dsp:cNvPr id="0" name=""/>
        <dsp:cNvSpPr/>
      </dsp:nvSpPr>
      <dsp:spPr>
        <a:xfrm>
          <a:off x="2366513" y="2931980"/>
          <a:ext cx="338523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338523" y="100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2527312" y="2933537"/>
        <a:ext cx="16926" cy="16926"/>
      </dsp:txXfrm>
    </dsp:sp>
    <dsp:sp modelId="{59BEC963-C2BA-46F2-9687-BA5266E02D08}">
      <dsp:nvSpPr>
        <dsp:cNvPr id="0" name=""/>
        <dsp:cNvSpPr/>
      </dsp:nvSpPr>
      <dsp:spPr>
        <a:xfrm>
          <a:off x="2705037" y="2730422"/>
          <a:ext cx="846308" cy="4231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Региональный проект </a:t>
          </a:r>
          <a:endParaRPr lang="ru-RU" sz="1000" kern="1200" dirty="0"/>
        </a:p>
      </dsp:txBody>
      <dsp:txXfrm>
        <a:off x="2717431" y="2742816"/>
        <a:ext cx="821520" cy="398366"/>
      </dsp:txXfrm>
    </dsp:sp>
    <dsp:sp modelId="{09D8AF1C-8F73-412F-B798-FBE9273E6048}">
      <dsp:nvSpPr>
        <dsp:cNvPr id="0" name=""/>
        <dsp:cNvSpPr/>
      </dsp:nvSpPr>
      <dsp:spPr>
        <a:xfrm>
          <a:off x="3551346" y="2931980"/>
          <a:ext cx="338523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338523" y="100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3712144" y="2933537"/>
        <a:ext cx="16926" cy="16926"/>
      </dsp:txXfrm>
    </dsp:sp>
    <dsp:sp modelId="{9E55A246-FB46-4D52-8D89-52045CFE6B0E}">
      <dsp:nvSpPr>
        <dsp:cNvPr id="0" name=""/>
        <dsp:cNvSpPr/>
      </dsp:nvSpPr>
      <dsp:spPr>
        <a:xfrm>
          <a:off x="3889869" y="2730422"/>
          <a:ext cx="1424667" cy="423154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крепление общественного здоровья</a:t>
          </a:r>
          <a:endParaRPr lang="ru-RU" sz="900" kern="1200" dirty="0"/>
        </a:p>
      </dsp:txBody>
      <dsp:txXfrm>
        <a:off x="3902263" y="2742816"/>
        <a:ext cx="1399879" cy="398366"/>
      </dsp:txXfrm>
    </dsp:sp>
    <dsp:sp modelId="{7EB509E0-8377-46C3-AFC1-007A97378EDC}">
      <dsp:nvSpPr>
        <dsp:cNvPr id="0" name=""/>
        <dsp:cNvSpPr/>
      </dsp:nvSpPr>
      <dsp:spPr>
        <a:xfrm rot="4319632">
          <a:off x="803380" y="2897863"/>
          <a:ext cx="1095124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1095124" y="1001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1323564" y="2880505"/>
        <a:ext cx="54756" cy="54756"/>
      </dsp:txXfrm>
    </dsp:sp>
    <dsp:sp modelId="{91793AA9-7ADC-40CE-9373-6F2D90EB8B1F}">
      <dsp:nvSpPr>
        <dsp:cNvPr id="0" name=""/>
        <dsp:cNvSpPr/>
      </dsp:nvSpPr>
      <dsp:spPr>
        <a:xfrm>
          <a:off x="1520204" y="3217050"/>
          <a:ext cx="846308" cy="4231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 dirty="0" smtClean="0"/>
            <a:t>Федеральный проект 5 </a:t>
          </a:r>
          <a:endParaRPr lang="ru-RU" sz="1050" kern="1200" dirty="0"/>
        </a:p>
      </dsp:txBody>
      <dsp:txXfrm>
        <a:off x="1532598" y="3229444"/>
        <a:ext cx="821520" cy="398366"/>
      </dsp:txXfrm>
    </dsp:sp>
    <dsp:sp modelId="{13CAD69F-0294-49F4-B2C7-4A2DE6F5F7B6}">
      <dsp:nvSpPr>
        <dsp:cNvPr id="0" name=""/>
        <dsp:cNvSpPr/>
      </dsp:nvSpPr>
      <dsp:spPr>
        <a:xfrm>
          <a:off x="2366513" y="3418608"/>
          <a:ext cx="338523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338523" y="100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2527312" y="3420164"/>
        <a:ext cx="16926" cy="16926"/>
      </dsp:txXfrm>
    </dsp:sp>
    <dsp:sp modelId="{7E36CD7C-7949-4E01-834E-665F2F8260D0}">
      <dsp:nvSpPr>
        <dsp:cNvPr id="0" name=""/>
        <dsp:cNvSpPr/>
      </dsp:nvSpPr>
      <dsp:spPr>
        <a:xfrm>
          <a:off x="2705037" y="3217050"/>
          <a:ext cx="846308" cy="42315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Региональный проект </a:t>
          </a:r>
          <a:endParaRPr lang="ru-RU" sz="1000" kern="1200" dirty="0"/>
        </a:p>
      </dsp:txBody>
      <dsp:txXfrm>
        <a:off x="2717431" y="3229444"/>
        <a:ext cx="821520" cy="398366"/>
      </dsp:txXfrm>
    </dsp:sp>
    <dsp:sp modelId="{EE116C6F-4814-479A-9D97-B15C53B9E492}">
      <dsp:nvSpPr>
        <dsp:cNvPr id="0" name=""/>
        <dsp:cNvSpPr/>
      </dsp:nvSpPr>
      <dsp:spPr>
        <a:xfrm>
          <a:off x="3551346" y="3418608"/>
          <a:ext cx="338523" cy="20039"/>
        </a:xfrm>
        <a:custGeom>
          <a:avLst/>
          <a:gdLst/>
          <a:ahLst/>
          <a:cxnLst/>
          <a:rect l="0" t="0" r="0" b="0"/>
          <a:pathLst>
            <a:path>
              <a:moveTo>
                <a:pt x="0" y="10019"/>
              </a:moveTo>
              <a:lnTo>
                <a:pt x="338523" y="1001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" kern="1200"/>
        </a:p>
      </dsp:txBody>
      <dsp:txXfrm>
        <a:off x="3712144" y="3420164"/>
        <a:ext cx="16926" cy="16926"/>
      </dsp:txXfrm>
    </dsp:sp>
    <dsp:sp modelId="{72FFB183-A5A6-40B0-9C01-BE675B24A911}">
      <dsp:nvSpPr>
        <dsp:cNvPr id="0" name=""/>
        <dsp:cNvSpPr/>
      </dsp:nvSpPr>
      <dsp:spPr>
        <a:xfrm>
          <a:off x="3889869" y="3217050"/>
          <a:ext cx="1425894" cy="423154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Спорт - норма жизни</a:t>
          </a:r>
          <a:endParaRPr lang="ru-RU" sz="1000" kern="1200"/>
        </a:p>
      </dsp:txBody>
      <dsp:txXfrm>
        <a:off x="3902263" y="3229444"/>
        <a:ext cx="1401106" cy="39836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37C197-4B59-4E73-B866-5321E7AE161C}">
      <dsp:nvSpPr>
        <dsp:cNvPr id="0" name=""/>
        <dsp:cNvSpPr/>
      </dsp:nvSpPr>
      <dsp:spPr>
        <a:xfrm>
          <a:off x="800814" y="761746"/>
          <a:ext cx="91440" cy="30690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06906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CFBB1B-3BC7-43E4-8652-6AA804DFFCAF}">
      <dsp:nvSpPr>
        <dsp:cNvPr id="0" name=""/>
        <dsp:cNvSpPr/>
      </dsp:nvSpPr>
      <dsp:spPr>
        <a:xfrm>
          <a:off x="84942" y="155"/>
          <a:ext cx="1523183" cy="7615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Национальный проект </a:t>
          </a:r>
          <a:endParaRPr lang="ru-RU" sz="1600" b="1" kern="1200" dirty="0"/>
        </a:p>
      </dsp:txBody>
      <dsp:txXfrm>
        <a:off x="84942" y="155"/>
        <a:ext cx="1523183" cy="761591"/>
      </dsp:txXfrm>
    </dsp:sp>
    <dsp:sp modelId="{7F20C3A6-C27D-4269-9132-7964E75CF862}">
      <dsp:nvSpPr>
        <dsp:cNvPr id="0" name=""/>
        <dsp:cNvSpPr/>
      </dsp:nvSpPr>
      <dsp:spPr>
        <a:xfrm>
          <a:off x="84942" y="1068653"/>
          <a:ext cx="1523183" cy="95023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Региональный проект Хабаровского края  </a:t>
          </a:r>
          <a:endParaRPr lang="ru-RU" sz="1600" b="1" kern="1200" dirty="0"/>
        </a:p>
      </dsp:txBody>
      <dsp:txXfrm>
        <a:off x="84942" y="1068653"/>
        <a:ext cx="1523183" cy="95023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BF8A18-A4A0-408D-B2CF-1DF0438D41DC}">
      <dsp:nvSpPr>
        <dsp:cNvPr id="0" name=""/>
        <dsp:cNvSpPr/>
      </dsp:nvSpPr>
      <dsp:spPr>
        <a:xfrm>
          <a:off x="4357687" y="604227"/>
          <a:ext cx="3815965" cy="2264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244"/>
              </a:lnTo>
              <a:lnTo>
                <a:pt x="3815965" y="113244"/>
              </a:lnTo>
              <a:lnTo>
                <a:pt x="3815965" y="226488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7A56B4-8A69-462A-A9FF-78AF15E23DCA}">
      <dsp:nvSpPr>
        <dsp:cNvPr id="0" name=""/>
        <dsp:cNvSpPr/>
      </dsp:nvSpPr>
      <dsp:spPr>
        <a:xfrm>
          <a:off x="5662693" y="2135721"/>
          <a:ext cx="2066864" cy="2264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244"/>
              </a:lnTo>
              <a:lnTo>
                <a:pt x="2066864" y="113244"/>
              </a:lnTo>
              <a:lnTo>
                <a:pt x="2066864" y="226488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AC749C-41A7-473C-BC89-5DA269E5C6AC}">
      <dsp:nvSpPr>
        <dsp:cNvPr id="0" name=""/>
        <dsp:cNvSpPr/>
      </dsp:nvSpPr>
      <dsp:spPr>
        <a:xfrm>
          <a:off x="5662693" y="2135721"/>
          <a:ext cx="548878" cy="2264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244"/>
              </a:lnTo>
              <a:lnTo>
                <a:pt x="548878" y="113244"/>
              </a:lnTo>
              <a:lnTo>
                <a:pt x="548878" y="226488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AFD93B-5AD0-4DCF-B8B4-22D7FDADC742}">
      <dsp:nvSpPr>
        <dsp:cNvPr id="0" name=""/>
        <dsp:cNvSpPr/>
      </dsp:nvSpPr>
      <dsp:spPr>
        <a:xfrm>
          <a:off x="4144707" y="2135721"/>
          <a:ext cx="1517985" cy="226488"/>
        </a:xfrm>
        <a:custGeom>
          <a:avLst/>
          <a:gdLst/>
          <a:ahLst/>
          <a:cxnLst/>
          <a:rect l="0" t="0" r="0" b="0"/>
          <a:pathLst>
            <a:path>
              <a:moveTo>
                <a:pt x="1517985" y="0"/>
              </a:moveTo>
              <a:lnTo>
                <a:pt x="1517985" y="113244"/>
              </a:lnTo>
              <a:lnTo>
                <a:pt x="0" y="113244"/>
              </a:lnTo>
              <a:lnTo>
                <a:pt x="0" y="226488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84CDAF-B325-4BB8-9E1F-857BFB5F2807}">
      <dsp:nvSpPr>
        <dsp:cNvPr id="0" name=""/>
        <dsp:cNvSpPr/>
      </dsp:nvSpPr>
      <dsp:spPr>
        <a:xfrm>
          <a:off x="5616973" y="1369974"/>
          <a:ext cx="91440" cy="22648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6488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9185AB-A836-4B5D-A1D4-1F14ED438778}">
      <dsp:nvSpPr>
        <dsp:cNvPr id="0" name=""/>
        <dsp:cNvSpPr/>
      </dsp:nvSpPr>
      <dsp:spPr>
        <a:xfrm>
          <a:off x="4357687" y="604227"/>
          <a:ext cx="1305005" cy="2264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244"/>
              </a:lnTo>
              <a:lnTo>
                <a:pt x="1305005" y="113244"/>
              </a:lnTo>
              <a:lnTo>
                <a:pt x="1305005" y="226488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00AD47-F26B-4CDB-9479-B129F0ED456E}">
      <dsp:nvSpPr>
        <dsp:cNvPr id="0" name=""/>
        <dsp:cNvSpPr/>
      </dsp:nvSpPr>
      <dsp:spPr>
        <a:xfrm>
          <a:off x="3151732" y="604227"/>
          <a:ext cx="1205954" cy="226488"/>
        </a:xfrm>
        <a:custGeom>
          <a:avLst/>
          <a:gdLst/>
          <a:ahLst/>
          <a:cxnLst/>
          <a:rect l="0" t="0" r="0" b="0"/>
          <a:pathLst>
            <a:path>
              <a:moveTo>
                <a:pt x="1205954" y="0"/>
              </a:moveTo>
              <a:lnTo>
                <a:pt x="1205954" y="113244"/>
              </a:lnTo>
              <a:lnTo>
                <a:pt x="0" y="113244"/>
              </a:lnTo>
              <a:lnTo>
                <a:pt x="0" y="226488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8ED15B-905C-48BE-BD03-B37F4EBD7739}">
      <dsp:nvSpPr>
        <dsp:cNvPr id="0" name=""/>
        <dsp:cNvSpPr/>
      </dsp:nvSpPr>
      <dsp:spPr>
        <a:xfrm>
          <a:off x="1846727" y="604227"/>
          <a:ext cx="2510960" cy="226488"/>
        </a:xfrm>
        <a:custGeom>
          <a:avLst/>
          <a:gdLst/>
          <a:ahLst/>
          <a:cxnLst/>
          <a:rect l="0" t="0" r="0" b="0"/>
          <a:pathLst>
            <a:path>
              <a:moveTo>
                <a:pt x="2510960" y="0"/>
              </a:moveTo>
              <a:lnTo>
                <a:pt x="2510960" y="113244"/>
              </a:lnTo>
              <a:lnTo>
                <a:pt x="0" y="113244"/>
              </a:lnTo>
              <a:lnTo>
                <a:pt x="0" y="226488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66AEF8-F5A8-4C59-8915-7C660AA9FEAD}">
      <dsp:nvSpPr>
        <dsp:cNvPr id="0" name=""/>
        <dsp:cNvSpPr/>
      </dsp:nvSpPr>
      <dsp:spPr>
        <a:xfrm>
          <a:off x="541721" y="604227"/>
          <a:ext cx="3815965" cy="226488"/>
        </a:xfrm>
        <a:custGeom>
          <a:avLst/>
          <a:gdLst/>
          <a:ahLst/>
          <a:cxnLst/>
          <a:rect l="0" t="0" r="0" b="0"/>
          <a:pathLst>
            <a:path>
              <a:moveTo>
                <a:pt x="3815965" y="0"/>
              </a:moveTo>
              <a:lnTo>
                <a:pt x="3815965" y="113244"/>
              </a:lnTo>
              <a:lnTo>
                <a:pt x="0" y="113244"/>
              </a:lnTo>
              <a:lnTo>
                <a:pt x="0" y="226488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6B4CD43-2BD7-4FA9-B02A-52C2F1FED79B}">
      <dsp:nvSpPr>
        <dsp:cNvPr id="0" name=""/>
        <dsp:cNvSpPr/>
      </dsp:nvSpPr>
      <dsp:spPr>
        <a:xfrm>
          <a:off x="1879649" y="64968"/>
          <a:ext cx="4956076" cy="53925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Национальный проект "</a:t>
          </a:r>
          <a:r>
            <a:rPr lang="ru-RU" sz="18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Демография"</a:t>
          </a:r>
          <a:endParaRPr lang="ru-RU" sz="1800" kern="1200"/>
        </a:p>
      </dsp:txBody>
      <dsp:txXfrm>
        <a:off x="1879649" y="64968"/>
        <a:ext cx="4956076" cy="539258"/>
      </dsp:txXfrm>
    </dsp:sp>
    <dsp:sp modelId="{6399792F-A596-4308-96E1-CC43975FC15C}">
      <dsp:nvSpPr>
        <dsp:cNvPr id="0" name=""/>
        <dsp:cNvSpPr/>
      </dsp:nvSpPr>
      <dsp:spPr>
        <a:xfrm>
          <a:off x="2463" y="830715"/>
          <a:ext cx="1078517" cy="53925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/>
            <a:t>ФП 1</a:t>
          </a:r>
        </a:p>
      </dsp:txBody>
      <dsp:txXfrm>
        <a:off x="2463" y="830715"/>
        <a:ext cx="1078517" cy="539258"/>
      </dsp:txXfrm>
    </dsp:sp>
    <dsp:sp modelId="{DCB38D73-7A11-4AC7-8446-DA3DCC7560EC}">
      <dsp:nvSpPr>
        <dsp:cNvPr id="0" name=""/>
        <dsp:cNvSpPr/>
      </dsp:nvSpPr>
      <dsp:spPr>
        <a:xfrm>
          <a:off x="1307468" y="830715"/>
          <a:ext cx="1078517" cy="53925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/>
            <a:t>ФП 2</a:t>
          </a:r>
        </a:p>
      </dsp:txBody>
      <dsp:txXfrm>
        <a:off x="1307468" y="830715"/>
        <a:ext cx="1078517" cy="539258"/>
      </dsp:txXfrm>
    </dsp:sp>
    <dsp:sp modelId="{D8E45426-6E9E-4E9B-87B5-FFC46F988733}">
      <dsp:nvSpPr>
        <dsp:cNvPr id="0" name=""/>
        <dsp:cNvSpPr/>
      </dsp:nvSpPr>
      <dsp:spPr>
        <a:xfrm>
          <a:off x="2612474" y="830715"/>
          <a:ext cx="1078517" cy="53925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/>
            <a:t>ФП 3</a:t>
          </a:r>
        </a:p>
      </dsp:txBody>
      <dsp:txXfrm>
        <a:off x="2612474" y="830715"/>
        <a:ext cx="1078517" cy="539258"/>
      </dsp:txXfrm>
    </dsp:sp>
    <dsp:sp modelId="{4EBA6BB7-8573-4B5D-843F-3F9FBAE5A5F4}">
      <dsp:nvSpPr>
        <dsp:cNvPr id="0" name=""/>
        <dsp:cNvSpPr/>
      </dsp:nvSpPr>
      <dsp:spPr>
        <a:xfrm>
          <a:off x="3917479" y="830715"/>
          <a:ext cx="3490426" cy="53925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ФП 4 .Формирование системы мотивации граждан к здоровому образу жизни, включая здоровое питание и отказ от вредных привычек                                            </a:t>
          </a:r>
          <a:r>
            <a:rPr lang="ru-RU" sz="10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(Укрепление общественного здоровья)</a:t>
          </a:r>
          <a:endParaRPr lang="ru-RU" sz="1000" kern="1200"/>
        </a:p>
      </dsp:txBody>
      <dsp:txXfrm>
        <a:off x="3917479" y="830715"/>
        <a:ext cx="3490426" cy="539258"/>
      </dsp:txXfrm>
    </dsp:sp>
    <dsp:sp modelId="{D345E497-355A-4A50-84FF-FF027FA55BCE}">
      <dsp:nvSpPr>
        <dsp:cNvPr id="0" name=""/>
        <dsp:cNvSpPr/>
      </dsp:nvSpPr>
      <dsp:spPr>
        <a:xfrm>
          <a:off x="3914174" y="1596463"/>
          <a:ext cx="3497037" cy="53925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Задача: Формирование системы мотивации граждан к здоровому образу жизни, включая здоровое питание и отказ от вредных привычек</a:t>
          </a:r>
          <a:r>
            <a:rPr lang="ru-RU" sz="1050" kern="1200"/>
            <a:t>.</a:t>
          </a:r>
        </a:p>
      </dsp:txBody>
      <dsp:txXfrm>
        <a:off x="3914174" y="1596463"/>
        <a:ext cx="3497037" cy="539258"/>
      </dsp:txXfrm>
    </dsp:sp>
    <dsp:sp modelId="{E5EB745B-D011-4A26-860F-75D3D3412E8F}">
      <dsp:nvSpPr>
        <dsp:cNvPr id="0" name=""/>
        <dsp:cNvSpPr/>
      </dsp:nvSpPr>
      <dsp:spPr>
        <a:xfrm>
          <a:off x="3031613" y="2362210"/>
          <a:ext cx="2226188" cy="215196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>
              <a:latin typeface="Arial" panose="020B0604020202020204" pitchFamily="34" charset="0"/>
              <a:cs typeface="Arial" panose="020B0604020202020204" pitchFamily="34" charset="0"/>
            </a:rPr>
            <a:t>1. Формирование среды, способствующей ведению гражданами здорового образа жизни, включая здоровое питание (в том числе ликвидацию микронутриентной недостаточности, сокращение потребления соли и сахара), защиту от табачного дыма, снижение потребления алкоголя. Развитие инфраструктуры общественного здоровья, повышение обеспеченности кадрами в сфере общественного здоровья</a:t>
          </a:r>
        </a:p>
      </dsp:txBody>
      <dsp:txXfrm>
        <a:off x="3031613" y="2362210"/>
        <a:ext cx="2226188" cy="2151965"/>
      </dsp:txXfrm>
    </dsp:sp>
    <dsp:sp modelId="{22A5FF0E-B4DB-4FF5-BCD7-B124A7DAC806}">
      <dsp:nvSpPr>
        <dsp:cNvPr id="0" name=""/>
        <dsp:cNvSpPr/>
      </dsp:nvSpPr>
      <dsp:spPr>
        <a:xfrm>
          <a:off x="5484290" y="2362210"/>
          <a:ext cx="1454563" cy="214550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 dirty="0">
              <a:latin typeface="Arial" panose="020B0604020202020204" pitchFamily="34" charset="0"/>
              <a:cs typeface="Arial" panose="020B0604020202020204" pitchFamily="34" charset="0"/>
            </a:rPr>
            <a:t>2. Мотивирование граждан к ведению здорового образа жизни посредством проведения информационно-коммуникационной кампании, </a:t>
          </a:r>
          <a:r>
            <a:rPr lang="ru-RU" sz="1050" b="1" kern="12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rPr>
            <a:t>а также вовлечения граждан и некоммерческих организаций в мероприятия по укреплению общественного здоровья.</a:t>
          </a:r>
        </a:p>
      </dsp:txBody>
      <dsp:txXfrm>
        <a:off x="5484290" y="2362210"/>
        <a:ext cx="1454563" cy="2145504"/>
      </dsp:txXfrm>
    </dsp:sp>
    <dsp:sp modelId="{C3838851-E40A-4FFB-8488-CEBFA38CC683}">
      <dsp:nvSpPr>
        <dsp:cNvPr id="0" name=""/>
        <dsp:cNvSpPr/>
      </dsp:nvSpPr>
      <dsp:spPr>
        <a:xfrm>
          <a:off x="7165342" y="2362210"/>
          <a:ext cx="1128430" cy="212380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kern="1200">
              <a:latin typeface="Arial" panose="020B0604020202020204" pitchFamily="34" charset="0"/>
              <a:cs typeface="Arial" panose="020B0604020202020204" pitchFamily="34" charset="0"/>
            </a:rPr>
            <a:t>3.  Разработка и внедрение программ укрепления здоровья на рабочем месте (корпоративных программ укрепления здоровья)..</a:t>
          </a:r>
        </a:p>
      </dsp:txBody>
      <dsp:txXfrm>
        <a:off x="7165342" y="2362210"/>
        <a:ext cx="1128430" cy="2123804"/>
      </dsp:txXfrm>
    </dsp:sp>
    <dsp:sp modelId="{E7E3BD6D-0F72-47BA-AD03-687C22EB31E8}">
      <dsp:nvSpPr>
        <dsp:cNvPr id="0" name=""/>
        <dsp:cNvSpPr/>
      </dsp:nvSpPr>
      <dsp:spPr>
        <a:xfrm>
          <a:off x="7634394" y="830715"/>
          <a:ext cx="1078517" cy="53925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/>
            <a:t>ФП 5</a:t>
          </a:r>
        </a:p>
      </dsp:txBody>
      <dsp:txXfrm>
        <a:off x="7634394" y="830715"/>
        <a:ext cx="1078517" cy="53925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A6C81A-45DC-41AF-9E2E-A8213E5F0D66}">
      <dsp:nvSpPr>
        <dsp:cNvPr id="0" name=""/>
        <dsp:cNvSpPr/>
      </dsp:nvSpPr>
      <dsp:spPr>
        <a:xfrm>
          <a:off x="690086" y="1903719"/>
          <a:ext cx="91440" cy="30896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08963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E37C197-4B59-4E73-B866-5321E7AE161C}">
      <dsp:nvSpPr>
        <dsp:cNvPr id="0" name=""/>
        <dsp:cNvSpPr/>
      </dsp:nvSpPr>
      <dsp:spPr>
        <a:xfrm>
          <a:off x="690086" y="859129"/>
          <a:ext cx="91440" cy="30896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08963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CFBB1B-3BC7-43E4-8652-6AA804DFFCAF}">
      <dsp:nvSpPr>
        <dsp:cNvPr id="0" name=""/>
        <dsp:cNvSpPr/>
      </dsp:nvSpPr>
      <dsp:spPr>
        <a:xfrm>
          <a:off x="179" y="123502"/>
          <a:ext cx="1471253" cy="73562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Национальный проект </a:t>
          </a:r>
          <a:endParaRPr lang="ru-RU" sz="1700" kern="1200" dirty="0"/>
        </a:p>
      </dsp:txBody>
      <dsp:txXfrm>
        <a:off x="179" y="123502"/>
        <a:ext cx="1471253" cy="735626"/>
      </dsp:txXfrm>
    </dsp:sp>
    <dsp:sp modelId="{7F20C3A6-C27D-4269-9132-7964E75CF862}">
      <dsp:nvSpPr>
        <dsp:cNvPr id="0" name=""/>
        <dsp:cNvSpPr/>
      </dsp:nvSpPr>
      <dsp:spPr>
        <a:xfrm>
          <a:off x="179" y="1168093"/>
          <a:ext cx="1471253" cy="735626"/>
        </a:xfrm>
        <a:prstGeom prst="rect">
          <a:avLst/>
        </a:prstGeom>
        <a:solidFill>
          <a:srgbClr val="FFFF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Федеральный  проект </a:t>
          </a:r>
          <a:endParaRPr lang="ru-RU" sz="1700" kern="1200" dirty="0"/>
        </a:p>
      </dsp:txBody>
      <dsp:txXfrm>
        <a:off x="179" y="1168093"/>
        <a:ext cx="1471253" cy="735626"/>
      </dsp:txXfrm>
    </dsp:sp>
    <dsp:sp modelId="{8EE8E85F-D10B-47C5-AE7C-4A5B3ADF8AD9}">
      <dsp:nvSpPr>
        <dsp:cNvPr id="0" name=""/>
        <dsp:cNvSpPr/>
      </dsp:nvSpPr>
      <dsp:spPr>
        <a:xfrm>
          <a:off x="179" y="2212683"/>
          <a:ext cx="1471253" cy="735626"/>
        </a:xfrm>
        <a:prstGeom prst="rect">
          <a:avLst/>
        </a:prstGeom>
        <a:solidFill>
          <a:srgbClr val="FFFF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Региональный проект </a:t>
          </a:r>
          <a:endParaRPr lang="ru-RU" sz="1700" kern="1200" dirty="0"/>
        </a:p>
      </dsp:txBody>
      <dsp:txXfrm>
        <a:off x="179" y="2212683"/>
        <a:ext cx="1471253" cy="73562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0A4607-0CF2-4170-A7CF-2CA5E2C599C3}">
      <dsp:nvSpPr>
        <dsp:cNvPr id="0" name=""/>
        <dsp:cNvSpPr/>
      </dsp:nvSpPr>
      <dsp:spPr>
        <a:xfrm>
          <a:off x="7114851" y="2353270"/>
          <a:ext cx="91440" cy="34760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47607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7412DE-B6E6-4EC2-A7A0-D7F290D49B16}">
      <dsp:nvSpPr>
        <dsp:cNvPr id="0" name=""/>
        <dsp:cNvSpPr/>
      </dsp:nvSpPr>
      <dsp:spPr>
        <a:xfrm>
          <a:off x="3988927" y="549276"/>
          <a:ext cx="3171644" cy="2504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231"/>
              </a:lnTo>
              <a:lnTo>
                <a:pt x="3171644" y="125231"/>
              </a:lnTo>
              <a:lnTo>
                <a:pt x="3171644" y="250463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0C8109-C329-4F52-92DE-DB2729BC7A36}">
      <dsp:nvSpPr>
        <dsp:cNvPr id="0" name=""/>
        <dsp:cNvSpPr/>
      </dsp:nvSpPr>
      <dsp:spPr>
        <a:xfrm>
          <a:off x="5143810" y="2396338"/>
          <a:ext cx="91440" cy="28867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63445"/>
              </a:lnTo>
              <a:lnTo>
                <a:pt x="58469" y="163445"/>
              </a:lnTo>
              <a:lnTo>
                <a:pt x="58469" y="288677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599A55-9F76-4430-838E-FDC4DFC00393}">
      <dsp:nvSpPr>
        <dsp:cNvPr id="0" name=""/>
        <dsp:cNvSpPr/>
      </dsp:nvSpPr>
      <dsp:spPr>
        <a:xfrm>
          <a:off x="3988927" y="549276"/>
          <a:ext cx="1200603" cy="2504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231"/>
              </a:lnTo>
              <a:lnTo>
                <a:pt x="1200603" y="125231"/>
              </a:lnTo>
              <a:lnTo>
                <a:pt x="1200603" y="250463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660E34-824A-4EE3-A657-AD9162921DBB}">
      <dsp:nvSpPr>
        <dsp:cNvPr id="0" name=""/>
        <dsp:cNvSpPr/>
      </dsp:nvSpPr>
      <dsp:spPr>
        <a:xfrm>
          <a:off x="3027226" y="2445691"/>
          <a:ext cx="91440" cy="25138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26150"/>
              </a:lnTo>
              <a:lnTo>
                <a:pt x="47187" y="126150"/>
              </a:lnTo>
              <a:lnTo>
                <a:pt x="47187" y="251381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38E60F-6A58-4F3F-A7FF-385AC89023C2}">
      <dsp:nvSpPr>
        <dsp:cNvPr id="0" name=""/>
        <dsp:cNvSpPr/>
      </dsp:nvSpPr>
      <dsp:spPr>
        <a:xfrm>
          <a:off x="3072946" y="549276"/>
          <a:ext cx="915981" cy="250463"/>
        </a:xfrm>
        <a:custGeom>
          <a:avLst/>
          <a:gdLst/>
          <a:ahLst/>
          <a:cxnLst/>
          <a:rect l="0" t="0" r="0" b="0"/>
          <a:pathLst>
            <a:path>
              <a:moveTo>
                <a:pt x="915981" y="0"/>
              </a:moveTo>
              <a:lnTo>
                <a:pt x="915981" y="125231"/>
              </a:lnTo>
              <a:lnTo>
                <a:pt x="0" y="125231"/>
              </a:lnTo>
              <a:lnTo>
                <a:pt x="0" y="250463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73D2A0-5132-4E55-986B-DBBC4410F2B8}">
      <dsp:nvSpPr>
        <dsp:cNvPr id="0" name=""/>
        <dsp:cNvSpPr/>
      </dsp:nvSpPr>
      <dsp:spPr>
        <a:xfrm>
          <a:off x="874282" y="2483708"/>
          <a:ext cx="91440" cy="23255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07323"/>
              </a:lnTo>
              <a:lnTo>
                <a:pt x="50023" y="107323"/>
              </a:lnTo>
              <a:lnTo>
                <a:pt x="50023" y="232555"/>
              </a:lnTo>
            </a:path>
          </a:pathLst>
        </a:cu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484FAC-A796-4C3D-A2AC-DF0257502C23}">
      <dsp:nvSpPr>
        <dsp:cNvPr id="0" name=""/>
        <dsp:cNvSpPr/>
      </dsp:nvSpPr>
      <dsp:spPr>
        <a:xfrm>
          <a:off x="920002" y="549276"/>
          <a:ext cx="3068924" cy="256743"/>
        </a:xfrm>
        <a:custGeom>
          <a:avLst/>
          <a:gdLst/>
          <a:ahLst/>
          <a:cxnLst/>
          <a:rect l="0" t="0" r="0" b="0"/>
          <a:pathLst>
            <a:path>
              <a:moveTo>
                <a:pt x="3068924" y="0"/>
              </a:moveTo>
              <a:lnTo>
                <a:pt x="3068924" y="131511"/>
              </a:lnTo>
              <a:lnTo>
                <a:pt x="0" y="131511"/>
              </a:lnTo>
              <a:lnTo>
                <a:pt x="0" y="256743"/>
              </a:lnTo>
            </a:path>
          </a:pathLst>
        </a:custGeom>
        <a:noFill/>
        <a:ln w="2540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9E9424-C44C-4FE9-A841-039F2B70A69D}">
      <dsp:nvSpPr>
        <dsp:cNvPr id="0" name=""/>
        <dsp:cNvSpPr/>
      </dsp:nvSpPr>
      <dsp:spPr>
        <a:xfrm>
          <a:off x="2102244" y="202247"/>
          <a:ext cx="3773365" cy="34702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>
              <a:latin typeface="Arial" pitchFamily="34" charset="0"/>
              <a:cs typeface="Arial" pitchFamily="34" charset="0"/>
            </a:rPr>
            <a:t>Федеральный проект "Жилье"</a:t>
          </a:r>
        </a:p>
      </dsp:txBody>
      <dsp:txXfrm>
        <a:off x="2102244" y="202247"/>
        <a:ext cx="3773365" cy="347029"/>
      </dsp:txXfrm>
    </dsp:sp>
    <dsp:sp modelId="{21628449-9170-4E59-BD8D-2EDA723B4752}">
      <dsp:nvSpPr>
        <dsp:cNvPr id="0" name=""/>
        <dsp:cNvSpPr/>
      </dsp:nvSpPr>
      <dsp:spPr>
        <a:xfrm>
          <a:off x="54227" y="806019"/>
          <a:ext cx="1731550" cy="167768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>
              <a:latin typeface="Arial" pitchFamily="34" charset="0"/>
              <a:cs typeface="Arial" pitchFamily="34" charset="0"/>
            </a:rPr>
            <a:t>1</a:t>
          </a:r>
          <a:r>
            <a:rPr lang="ru-RU" sz="800" b="1" kern="1200" dirty="0">
              <a:latin typeface="Arial" pitchFamily="34" charset="0"/>
              <a:cs typeface="Arial" pitchFamily="34" charset="0"/>
            </a:rPr>
            <a:t>. Модернизация строительной отрасли и повышение качества индустриального жилищного строительства, в том числе посредством установления ограничений на использование устаревших технологий и стимулирования внедрения передовых технологий в проектировании и строительстве, совершенствование механизмов государственной поддержки строительства стандартного жилья</a:t>
          </a:r>
          <a:r>
            <a:rPr lang="ru-RU" sz="800" kern="1200" dirty="0">
              <a:latin typeface="Arial" pitchFamily="34" charset="0"/>
              <a:cs typeface="Arial" pitchFamily="34" charset="0"/>
            </a:rPr>
            <a:t>.</a:t>
          </a:r>
        </a:p>
      </dsp:txBody>
      <dsp:txXfrm>
        <a:off x="54227" y="806019"/>
        <a:ext cx="1731550" cy="1677688"/>
      </dsp:txXfrm>
    </dsp:sp>
    <dsp:sp modelId="{4A868E25-5A4C-401A-8C4B-46CD2A14A95E}">
      <dsp:nvSpPr>
        <dsp:cNvPr id="0" name=""/>
        <dsp:cNvSpPr/>
      </dsp:nvSpPr>
      <dsp:spPr>
        <a:xfrm>
          <a:off x="0" y="2716264"/>
          <a:ext cx="1848612" cy="199333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>
              <a:latin typeface="Arial" pitchFamily="34" charset="0"/>
              <a:cs typeface="Arial" pitchFamily="34" charset="0"/>
            </a:rPr>
            <a:t>.1.1.	Принято решение о выделении средств федерального бюджета на финансирование мероприятий по стимулированию программ развития жилищного строительства субъектов РФ 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>
              <a:latin typeface="Arial" pitchFamily="34" charset="0"/>
              <a:cs typeface="Arial" pitchFamily="34" charset="0"/>
            </a:rPr>
            <a:t>1.2.	Утвержден перечень субъектов РФ  для участия в мероприятиях по стимулированию программ развития жилищного строительства субъектов РФ 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>
              <a:latin typeface="Arial" pitchFamily="34" charset="0"/>
              <a:cs typeface="Arial" pitchFamily="34" charset="0"/>
            </a:rPr>
            <a:t>1.3.	Обеспечен ввод жилья в рамках реализации мероприятий по стимулированию программ развития жилищного строительства субъектов РФ 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>
              <a:latin typeface="Arial" pitchFamily="34" charset="0"/>
              <a:cs typeface="Arial" pitchFamily="34" charset="0"/>
            </a:rPr>
            <a:t>...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 dirty="0">
              <a:latin typeface="Arial" pitchFamily="34" charset="0"/>
              <a:cs typeface="Arial" pitchFamily="34" charset="0"/>
            </a:rPr>
            <a:t>1.8.	Проведена разработка и актуализация порядка 100 стандартов продукции промышленности строительных материалов в целях повышения качества индустриального жилищного строительства .</a:t>
          </a:r>
        </a:p>
      </dsp:txBody>
      <dsp:txXfrm>
        <a:off x="0" y="2716264"/>
        <a:ext cx="1848612" cy="1993332"/>
      </dsp:txXfrm>
    </dsp:sp>
    <dsp:sp modelId="{6F8F6141-420E-4566-B412-B2EA3073D967}">
      <dsp:nvSpPr>
        <dsp:cNvPr id="0" name=""/>
        <dsp:cNvSpPr/>
      </dsp:nvSpPr>
      <dsp:spPr>
        <a:xfrm>
          <a:off x="2270770" y="799740"/>
          <a:ext cx="1604350" cy="164595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>
              <a:latin typeface="Arial" pitchFamily="34" charset="0"/>
              <a:cs typeface="Arial" pitchFamily="34" charset="0"/>
            </a:rPr>
            <a:t>2</a:t>
          </a:r>
          <a:r>
            <a:rPr lang="ru-RU" sz="900" b="1" kern="1200">
              <a:latin typeface="Arial" pitchFamily="34" charset="0"/>
              <a:cs typeface="Arial" pitchFamily="34" charset="0"/>
            </a:rPr>
            <a:t>.Снижение административной нагрузки на застройщиков, совершенствование нормативно-правовой базы и порядка регулирования в сфере жилищного строительства</a:t>
          </a:r>
          <a:endParaRPr lang="ru-RU" sz="900" kern="1200">
            <a:latin typeface="Arial" pitchFamily="34" charset="0"/>
            <a:cs typeface="Arial" pitchFamily="34" charset="0"/>
          </a:endParaRPr>
        </a:p>
      </dsp:txBody>
      <dsp:txXfrm>
        <a:off x="2270770" y="799740"/>
        <a:ext cx="1604350" cy="1645951"/>
      </dsp:txXfrm>
    </dsp:sp>
    <dsp:sp modelId="{412B4602-40E7-422D-BA10-27D927423907}">
      <dsp:nvSpPr>
        <dsp:cNvPr id="0" name=""/>
        <dsp:cNvSpPr/>
      </dsp:nvSpPr>
      <dsp:spPr>
        <a:xfrm>
          <a:off x="2100414" y="2697073"/>
          <a:ext cx="1947998" cy="195103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itchFamily="34" charset="0"/>
              <a:cs typeface="Arial" pitchFamily="34" charset="0"/>
            </a:rPr>
            <a:t>.2.1.Обеспечено достижение целевых показателей, предусмотренных целевой моделью "Получение разрешения на строительство и территориальное планирование", в </a:t>
          </a:r>
          <a:r>
            <a:rPr lang="ru-RU" sz="800" kern="1200" dirty="0" err="1" smtClean="0">
              <a:latin typeface="Arial" pitchFamily="34" charset="0"/>
              <a:cs typeface="Arial" pitchFamily="34" charset="0"/>
            </a:rPr>
            <a:t>т.ч</a:t>
          </a:r>
          <a:r>
            <a:rPr lang="ru-RU" sz="800" kern="1200" dirty="0" smtClean="0">
              <a:latin typeface="Arial" pitchFamily="34" charset="0"/>
              <a:cs typeface="Arial" pitchFamily="34" charset="0"/>
            </a:rPr>
            <a:t>. числе </a:t>
          </a:r>
          <a:r>
            <a:rPr lang="ru-RU" sz="800" kern="1200" dirty="0">
              <a:latin typeface="Arial" pitchFamily="34" charset="0"/>
              <a:cs typeface="Arial" pitchFamily="34" charset="0"/>
            </a:rPr>
            <a:t>сокращены сроки предоставления услуги по получению разрешения на </a:t>
          </a:r>
          <a:r>
            <a:rPr lang="ru-RU" sz="800" kern="1200" dirty="0" err="1" smtClean="0">
              <a:latin typeface="Arial" pitchFamily="34" charset="0"/>
              <a:cs typeface="Arial" pitchFamily="34" charset="0"/>
            </a:rPr>
            <a:t>стр</a:t>
          </a:r>
          <a:r>
            <a:rPr lang="ru-RU" sz="800" kern="1200" dirty="0" smtClean="0">
              <a:latin typeface="Arial" pitchFamily="34" charset="0"/>
              <a:cs typeface="Arial" pitchFamily="34" charset="0"/>
            </a:rPr>
            <a:t>-во</a:t>
          </a:r>
          <a:endParaRPr lang="ru-RU" sz="800" kern="1200" dirty="0">
            <a:latin typeface="Arial" pitchFamily="34" charset="0"/>
            <a:cs typeface="Arial" pitchFamily="34" charset="0"/>
          </a:endParaRP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itchFamily="34" charset="0"/>
              <a:cs typeface="Arial" pitchFamily="34" charset="0"/>
            </a:rPr>
            <a:t>   </a:t>
          </a:r>
          <a:r>
            <a:rPr lang="ru-RU" sz="8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2.2.Осуществлен переход к прохождению административных процедур в жилищном строительстве по принципу "одного окна"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latin typeface="Arial" pitchFamily="34" charset="0"/>
              <a:cs typeface="Arial" pitchFamily="34" charset="0"/>
            </a:rPr>
            <a:t>....</a:t>
          </a:r>
          <a:endParaRPr lang="ru-RU" sz="800" kern="1200" dirty="0">
            <a:latin typeface="Arial" pitchFamily="34" charset="0"/>
            <a:cs typeface="Arial" pitchFamily="34" charset="0"/>
          </a:endParaRP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itchFamily="34" charset="0"/>
              <a:cs typeface="Arial" pitchFamily="34" charset="0"/>
            </a:rPr>
            <a:t>2.2.6.	Не менее 50% процедур исчерпывающего перечня административных процедур в сфере жилищного строительства осуществляются в электронном виде.</a:t>
          </a:r>
        </a:p>
      </dsp:txBody>
      <dsp:txXfrm>
        <a:off x="2100414" y="2697073"/>
        <a:ext cx="1947998" cy="1951033"/>
      </dsp:txXfrm>
    </dsp:sp>
    <dsp:sp modelId="{88002BEC-7B45-4985-A334-24BDA6CB0B52}">
      <dsp:nvSpPr>
        <dsp:cNvPr id="0" name=""/>
        <dsp:cNvSpPr/>
      </dsp:nvSpPr>
      <dsp:spPr>
        <a:xfrm>
          <a:off x="4444312" y="799740"/>
          <a:ext cx="1490437" cy="159659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>
              <a:latin typeface="Arial" pitchFamily="34" charset="0"/>
              <a:cs typeface="Arial" pitchFamily="34" charset="0"/>
            </a:rPr>
            <a:t>3</a:t>
          </a:r>
          <a:r>
            <a:rPr lang="ru-RU" sz="800" b="1" kern="1200">
              <a:latin typeface="Arial" pitchFamily="34" charset="0"/>
              <a:cs typeface="Arial" pitchFamily="34" charset="0"/>
            </a:rPr>
            <a:t>.Обеспечение эффективного использования земель в целях массового жилищного строительства при условии сохранения и развития зеленого фонда и территорий, на которых располагаются природные объекты, имеющие экологическое, историко-культурное, рекреационное, оздоровительное и иное ценное значение</a:t>
          </a:r>
          <a:r>
            <a:rPr lang="ru-RU" sz="800" kern="1200">
              <a:latin typeface="Arial" pitchFamily="34" charset="0"/>
              <a:cs typeface="Arial" pitchFamily="34" charset="0"/>
            </a:rPr>
            <a:t>.</a:t>
          </a:r>
        </a:p>
      </dsp:txBody>
      <dsp:txXfrm>
        <a:off x="4444312" y="799740"/>
        <a:ext cx="1490437" cy="1596598"/>
      </dsp:txXfrm>
    </dsp:sp>
    <dsp:sp modelId="{A4CE9E17-17B8-409C-9FBA-27613EFAC678}">
      <dsp:nvSpPr>
        <dsp:cNvPr id="0" name=""/>
        <dsp:cNvSpPr/>
      </dsp:nvSpPr>
      <dsp:spPr>
        <a:xfrm>
          <a:off x="4257657" y="2685015"/>
          <a:ext cx="1889246" cy="196271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>
              <a:latin typeface="Arial" pitchFamily="34" charset="0"/>
              <a:cs typeface="Arial" pitchFamily="34" charset="0"/>
            </a:rPr>
            <a:t>3.1.Внесены изменения в законодательство РФ , предусматривающие упрощение механизма изъятия земельных участков в целях реализации проектов комплексного устойчивого развития территорий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>
              <a:latin typeface="Arial" pitchFamily="34" charset="0"/>
              <a:cs typeface="Arial" pitchFamily="34" charset="0"/>
            </a:rPr>
            <a:t>3.2.Разработан методический документ "Стандарт комплексного развития территорий" с учетом лучших мировых практик в области городского планирования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>
              <a:latin typeface="Arial" pitchFamily="34" charset="0"/>
              <a:cs typeface="Arial" pitchFamily="34" charset="0"/>
            </a:rPr>
            <a:t>...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700" kern="1200">
              <a:latin typeface="Arial" pitchFamily="34" charset="0"/>
              <a:cs typeface="Arial" pitchFamily="34" charset="0"/>
            </a:rPr>
            <a:t>3.5.Актуализированы нормативно-правовые документы градостроительного регулирования и планировки территории, архитектурного проектирования, технического регулирования, санитарно-эпидемиологического благополучия населения, в том числе с учетом методического документа "Стандарт комплексного развития территорий" .</a:t>
          </a:r>
        </a:p>
      </dsp:txBody>
      <dsp:txXfrm>
        <a:off x="4257657" y="2685015"/>
        <a:ext cx="1889246" cy="1962710"/>
      </dsp:txXfrm>
    </dsp:sp>
    <dsp:sp modelId="{3D110904-5138-4214-A098-E09403DE990C}">
      <dsp:nvSpPr>
        <dsp:cNvPr id="0" name=""/>
        <dsp:cNvSpPr/>
      </dsp:nvSpPr>
      <dsp:spPr>
        <a:xfrm>
          <a:off x="6403802" y="799740"/>
          <a:ext cx="1513539" cy="155353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latin typeface="Arial" pitchFamily="34" charset="0"/>
              <a:cs typeface="Arial" pitchFamily="34" charset="0"/>
            </a:rPr>
            <a:t>4</a:t>
          </a:r>
          <a:r>
            <a:rPr lang="ru-RU" sz="800" b="1" kern="1200" dirty="0">
              <a:latin typeface="Arial" pitchFamily="34" charset="0"/>
              <a:cs typeface="Arial" pitchFamily="34" charset="0"/>
            </a:rPr>
            <a:t>.Развитие высшего  и </a:t>
          </a:r>
          <a:r>
            <a:rPr lang="ru-RU" sz="8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среднего профессионального образования в области строительства </a:t>
          </a:r>
          <a:r>
            <a:rPr lang="ru-RU" sz="800" b="1" kern="1200" dirty="0">
              <a:latin typeface="Arial" pitchFamily="34" charset="0"/>
              <a:cs typeface="Arial" pitchFamily="34" charset="0"/>
            </a:rPr>
            <a:t>и городского хозяйства, а также реализация программ по повышению квалификации специалистов в области архитектуры, градостроительства и строительства</a:t>
          </a:r>
          <a:r>
            <a:rPr lang="ru-RU" sz="800" kern="1200" dirty="0">
              <a:latin typeface="Arial" pitchFamily="34" charset="0"/>
              <a:cs typeface="Arial" pitchFamily="34" charset="0"/>
            </a:rPr>
            <a:t>..</a:t>
          </a:r>
        </a:p>
      </dsp:txBody>
      <dsp:txXfrm>
        <a:off x="6403802" y="799740"/>
        <a:ext cx="1513539" cy="1553530"/>
      </dsp:txXfrm>
    </dsp:sp>
    <dsp:sp modelId="{B17BF896-E765-47D1-A2EF-82EE2746EC25}">
      <dsp:nvSpPr>
        <dsp:cNvPr id="0" name=""/>
        <dsp:cNvSpPr/>
      </dsp:nvSpPr>
      <dsp:spPr>
        <a:xfrm>
          <a:off x="6439230" y="2700878"/>
          <a:ext cx="1442682" cy="188416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b="1" kern="1200" dirty="0">
              <a:latin typeface="Arial" pitchFamily="34" charset="0"/>
              <a:cs typeface="Arial" pitchFamily="34" charset="0"/>
            </a:rPr>
            <a:t>4.1.Реализованы мероприятия по развитию и поддержке </a:t>
          </a:r>
          <a:r>
            <a:rPr lang="ru-RU" sz="800" kern="1200" dirty="0">
              <a:latin typeface="Arial" pitchFamily="34" charset="0"/>
              <a:cs typeface="Arial" pitchFamily="34" charset="0"/>
            </a:rPr>
            <a:t>высшего и </a:t>
          </a:r>
          <a:r>
            <a:rPr lang="ru-RU" sz="8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среднего профессионального образования в области строительства и городского хозяйства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>
              <a:latin typeface="Arial" pitchFamily="34" charset="0"/>
              <a:cs typeface="Arial" pitchFamily="34" charset="0"/>
            </a:rPr>
            <a:t>4.2.Реализованы мероприятия по повышению квалификации специалистов в области архитектуры, градостроительства и строительства....</a:t>
          </a:r>
        </a:p>
      </dsp:txBody>
      <dsp:txXfrm>
        <a:off x="6439230" y="2700878"/>
        <a:ext cx="1442682" cy="1884166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E04B17-E704-4C61-B571-D211C9BAA1DF}">
      <dsp:nvSpPr>
        <dsp:cNvPr id="0" name=""/>
        <dsp:cNvSpPr/>
      </dsp:nvSpPr>
      <dsp:spPr>
        <a:xfrm>
          <a:off x="7712230" y="1449593"/>
          <a:ext cx="91440" cy="17232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6658"/>
              </a:lnTo>
              <a:lnTo>
                <a:pt x="46407" y="76658"/>
              </a:lnTo>
              <a:lnTo>
                <a:pt x="46407" y="247083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4BAF1A-F6F6-4CE0-9C39-5A9EDDF3E28D}">
      <dsp:nvSpPr>
        <dsp:cNvPr id="0" name=""/>
        <dsp:cNvSpPr/>
      </dsp:nvSpPr>
      <dsp:spPr>
        <a:xfrm>
          <a:off x="4357859" y="376872"/>
          <a:ext cx="3400090" cy="2151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15"/>
              </a:lnTo>
              <a:lnTo>
                <a:pt x="3766392" y="136015"/>
              </a:lnTo>
              <a:lnTo>
                <a:pt x="3766392" y="306440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7D8733-70A9-4182-99B5-E8CA1CDE0332}">
      <dsp:nvSpPr>
        <dsp:cNvPr id="0" name=""/>
        <dsp:cNvSpPr/>
      </dsp:nvSpPr>
      <dsp:spPr>
        <a:xfrm>
          <a:off x="5863456" y="1099072"/>
          <a:ext cx="91440" cy="168618"/>
        </a:xfrm>
        <a:custGeom>
          <a:avLst/>
          <a:gdLst/>
          <a:ahLst/>
          <a:cxnLst/>
          <a:rect l="0" t="0" r="0" b="0"/>
          <a:pathLst>
            <a:path>
              <a:moveTo>
                <a:pt x="45752" y="0"/>
              </a:moveTo>
              <a:lnTo>
                <a:pt x="45752" y="71351"/>
              </a:lnTo>
              <a:lnTo>
                <a:pt x="45720" y="71351"/>
              </a:lnTo>
              <a:lnTo>
                <a:pt x="45720" y="241776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38C0D3E-002F-4A5D-8F03-BDA866C32184}">
      <dsp:nvSpPr>
        <dsp:cNvPr id="0" name=""/>
        <dsp:cNvSpPr/>
      </dsp:nvSpPr>
      <dsp:spPr>
        <a:xfrm>
          <a:off x="4357859" y="376872"/>
          <a:ext cx="1551316" cy="2151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15"/>
              </a:lnTo>
              <a:lnTo>
                <a:pt x="1690547" y="136015"/>
              </a:lnTo>
              <a:lnTo>
                <a:pt x="1690547" y="306440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3E5036-8C27-43BD-A98D-53D43EF800CA}">
      <dsp:nvSpPr>
        <dsp:cNvPr id="0" name=""/>
        <dsp:cNvSpPr/>
      </dsp:nvSpPr>
      <dsp:spPr>
        <a:xfrm>
          <a:off x="3444353" y="1456810"/>
          <a:ext cx="91440" cy="17674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53422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0066F9-0EC3-4F7B-895A-2EFF1C74F2B1}">
      <dsp:nvSpPr>
        <dsp:cNvPr id="0" name=""/>
        <dsp:cNvSpPr/>
      </dsp:nvSpPr>
      <dsp:spPr>
        <a:xfrm>
          <a:off x="3444353" y="956330"/>
          <a:ext cx="91440" cy="10293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7588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67E8A3-7CD4-4538-B615-D8F5CE86D69E}">
      <dsp:nvSpPr>
        <dsp:cNvPr id="0" name=""/>
        <dsp:cNvSpPr/>
      </dsp:nvSpPr>
      <dsp:spPr>
        <a:xfrm>
          <a:off x="3490073" y="376872"/>
          <a:ext cx="867785" cy="215199"/>
        </a:xfrm>
        <a:custGeom>
          <a:avLst/>
          <a:gdLst/>
          <a:ahLst/>
          <a:cxnLst/>
          <a:rect l="0" t="0" r="0" b="0"/>
          <a:pathLst>
            <a:path>
              <a:moveTo>
                <a:pt x="1263251" y="0"/>
              </a:moveTo>
              <a:lnTo>
                <a:pt x="1263251" y="136015"/>
              </a:lnTo>
              <a:lnTo>
                <a:pt x="0" y="136015"/>
              </a:lnTo>
              <a:lnTo>
                <a:pt x="0" y="306440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3B9796-73EB-4B8F-A12C-A0BBE35093A0}">
      <dsp:nvSpPr>
        <dsp:cNvPr id="0" name=""/>
        <dsp:cNvSpPr/>
      </dsp:nvSpPr>
      <dsp:spPr>
        <a:xfrm>
          <a:off x="924698" y="1460081"/>
          <a:ext cx="91440" cy="15106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16610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AC763E-2872-430E-9AA3-F44BDF41CDA0}">
      <dsp:nvSpPr>
        <dsp:cNvPr id="0" name=""/>
        <dsp:cNvSpPr/>
      </dsp:nvSpPr>
      <dsp:spPr>
        <a:xfrm>
          <a:off x="924698" y="976468"/>
          <a:ext cx="91440" cy="10934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56791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4B0FAC-C5E5-4962-8D56-4584135529D9}">
      <dsp:nvSpPr>
        <dsp:cNvPr id="0" name=""/>
        <dsp:cNvSpPr/>
      </dsp:nvSpPr>
      <dsp:spPr>
        <a:xfrm>
          <a:off x="970418" y="376872"/>
          <a:ext cx="3387441" cy="215199"/>
        </a:xfrm>
        <a:custGeom>
          <a:avLst/>
          <a:gdLst/>
          <a:ahLst/>
          <a:cxnLst/>
          <a:rect l="0" t="0" r="0" b="0"/>
          <a:pathLst>
            <a:path>
              <a:moveTo>
                <a:pt x="3779982" y="0"/>
              </a:moveTo>
              <a:lnTo>
                <a:pt x="3779982" y="136015"/>
              </a:lnTo>
              <a:lnTo>
                <a:pt x="0" y="136015"/>
              </a:lnTo>
              <a:lnTo>
                <a:pt x="0" y="306440"/>
              </a:lnTo>
            </a:path>
          </a:pathLst>
        </a:custGeom>
        <a:noFill/>
        <a:ln w="254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E5F850-201D-42D6-B7D6-F632772FA4A5}">
      <dsp:nvSpPr>
        <dsp:cNvPr id="0" name=""/>
        <dsp:cNvSpPr/>
      </dsp:nvSpPr>
      <dsp:spPr>
        <a:xfrm>
          <a:off x="731104" y="28705"/>
          <a:ext cx="7253509" cy="348166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600" b="1" kern="1200" dirty="0">
              <a:solidFill>
                <a:srgbClr val="C00000"/>
              </a:solidFill>
              <a:latin typeface="Arial Narrow" pitchFamily="34" charset="0"/>
              <a:ea typeface="+mn-ea"/>
              <a:cs typeface="Arial" pitchFamily="34" charset="0"/>
            </a:rPr>
            <a:t>Участие органов местного самоуправления </a:t>
          </a:r>
          <a:r>
            <a:rPr lang="ru-RU" sz="1600" b="1" kern="1200" dirty="0" smtClean="0">
              <a:solidFill>
                <a:srgbClr val="C00000"/>
              </a:solidFill>
              <a:latin typeface="Arial Narrow" pitchFamily="34" charset="0"/>
              <a:ea typeface="+mn-ea"/>
              <a:cs typeface="Arial" pitchFamily="34" charset="0"/>
            </a:rPr>
            <a:t> в </a:t>
          </a:r>
          <a:r>
            <a:rPr lang="ru-RU" sz="1600" b="1" kern="1200" dirty="0">
              <a:solidFill>
                <a:srgbClr val="C00000"/>
              </a:solidFill>
              <a:latin typeface="Arial Narrow" pitchFamily="34" charset="0"/>
              <a:ea typeface="+mn-ea"/>
              <a:cs typeface="Arial" pitchFamily="34" charset="0"/>
            </a:rPr>
            <a:t>реализации </a:t>
          </a:r>
          <a:r>
            <a:rPr lang="ru-RU" sz="1600" b="1" kern="1200" dirty="0" smtClean="0">
              <a:solidFill>
                <a:srgbClr val="C00000"/>
              </a:solidFill>
              <a:latin typeface="Arial Narrow" pitchFamily="34" charset="0"/>
              <a:ea typeface="+mn-ea"/>
              <a:cs typeface="Arial" pitchFamily="34" charset="0"/>
            </a:rPr>
            <a:t>региональных </a:t>
          </a:r>
          <a:r>
            <a:rPr lang="ru-RU" sz="1600" b="1" kern="1200" dirty="0">
              <a:solidFill>
                <a:srgbClr val="C00000"/>
              </a:solidFill>
              <a:latin typeface="Arial Narrow" pitchFamily="34" charset="0"/>
              <a:ea typeface="+mn-ea"/>
              <a:cs typeface="Arial" pitchFamily="34" charset="0"/>
            </a:rPr>
            <a:t>проектов </a:t>
          </a:r>
        </a:p>
      </dsp:txBody>
      <dsp:txXfrm>
        <a:off x="731104" y="28705"/>
        <a:ext cx="7253509" cy="348166"/>
      </dsp:txXfrm>
    </dsp:sp>
    <dsp:sp modelId="{9328D671-9D3C-48EB-8E1E-A5EC5B79E8E3}">
      <dsp:nvSpPr>
        <dsp:cNvPr id="0" name=""/>
        <dsp:cNvSpPr/>
      </dsp:nvSpPr>
      <dsp:spPr>
        <a:xfrm>
          <a:off x="3717" y="592072"/>
          <a:ext cx="1933400" cy="384395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0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Координационный   совет </a:t>
          </a:r>
        </a:p>
      </dsp:txBody>
      <dsp:txXfrm>
        <a:off x="3717" y="592072"/>
        <a:ext cx="1933400" cy="384395"/>
      </dsp:txXfrm>
    </dsp:sp>
    <dsp:sp modelId="{D2671C8C-67C9-44C2-B2AB-7E0C648FA84A}">
      <dsp:nvSpPr>
        <dsp:cNvPr id="0" name=""/>
        <dsp:cNvSpPr/>
      </dsp:nvSpPr>
      <dsp:spPr>
        <a:xfrm>
          <a:off x="122835" y="1085816"/>
          <a:ext cx="1695165" cy="374264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0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Глава муниципального образования</a:t>
          </a:r>
        </a:p>
      </dsp:txBody>
      <dsp:txXfrm>
        <a:off x="122835" y="1085816"/>
        <a:ext cx="1695165" cy="374264"/>
      </dsp:txXfrm>
    </dsp:sp>
    <dsp:sp modelId="{92072A02-4DDA-407D-99CC-8540E7D96173}">
      <dsp:nvSpPr>
        <dsp:cNvPr id="0" name=""/>
        <dsp:cNvSpPr/>
      </dsp:nvSpPr>
      <dsp:spPr>
        <a:xfrm>
          <a:off x="110604" y="1611149"/>
          <a:ext cx="1719627" cy="3076626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9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Задачи Главы: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9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 обеспечение   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9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1) учета организационных, экономических и иных особенностей муниципальных образований в ходе участия в проектной деятельности;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9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2) взаимодействия органов исполнительной власти субъектов РФ с органами </a:t>
          </a:r>
          <a:r>
            <a:rPr lang="ru-RU" sz="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МСУ </a:t>
          </a:r>
          <a:r>
            <a:rPr lang="ru-RU" sz="9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и реализации региональных проектов;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9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3) информирования граждан о реализации региональных проектов</a:t>
          </a:r>
        </a:p>
      </dsp:txBody>
      <dsp:txXfrm>
        <a:off x="110604" y="1611149"/>
        <a:ext cx="1719627" cy="3076626"/>
      </dsp:txXfrm>
    </dsp:sp>
    <dsp:sp modelId="{0D9A319C-D817-4991-BDB4-74E7A38A7789}">
      <dsp:nvSpPr>
        <dsp:cNvPr id="0" name=""/>
        <dsp:cNvSpPr/>
      </dsp:nvSpPr>
      <dsp:spPr>
        <a:xfrm>
          <a:off x="2174833" y="592072"/>
          <a:ext cx="2630481" cy="364257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0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оектные комитеты </a:t>
          </a:r>
        </a:p>
      </dsp:txBody>
      <dsp:txXfrm>
        <a:off x="2174833" y="592072"/>
        <a:ext cx="2630481" cy="364257"/>
      </dsp:txXfrm>
    </dsp:sp>
    <dsp:sp modelId="{BBA4C7FD-E5C2-4DFC-99E9-437CF1ADA314}">
      <dsp:nvSpPr>
        <dsp:cNvPr id="0" name=""/>
        <dsp:cNvSpPr/>
      </dsp:nvSpPr>
      <dsp:spPr>
        <a:xfrm>
          <a:off x="2144784" y="1059260"/>
          <a:ext cx="2690578" cy="397549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0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едставители муниципальных  образований</a:t>
          </a:r>
        </a:p>
      </dsp:txBody>
      <dsp:txXfrm>
        <a:off x="2144784" y="1059260"/>
        <a:ext cx="2690578" cy="397549"/>
      </dsp:txXfrm>
    </dsp:sp>
    <dsp:sp modelId="{B440F3C3-5D23-4E7C-AC52-149F909FC78E}">
      <dsp:nvSpPr>
        <dsp:cNvPr id="0" name=""/>
        <dsp:cNvSpPr/>
      </dsp:nvSpPr>
      <dsp:spPr>
        <a:xfrm>
          <a:off x="2117702" y="1633550"/>
          <a:ext cx="2744743" cy="3118453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300"/>
            </a:spcAft>
          </a:pPr>
          <a:r>
            <a:rPr lang="ru-RU" sz="10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Задачи представителей: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8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1) участие органов </a:t>
          </a:r>
          <a:r>
            <a:rPr lang="ru-RU" sz="8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МСУ, </a:t>
          </a:r>
          <a:r>
            <a:rPr lang="ru-RU" sz="8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являющихся предполагаемыми участниками регионального проекта, в подготовке паспорта регионального проекта;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8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2) учет позиции органов </a:t>
          </a:r>
          <a:r>
            <a:rPr lang="ru-RU" sz="8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МСУ  </a:t>
          </a:r>
          <a:r>
            <a:rPr lang="ru-RU" sz="8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и подготовке паспортов региональных проектов и их реализации;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8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6) осуществление </a:t>
          </a:r>
          <a:r>
            <a:rPr lang="ru-RU" sz="800" b="1" i="1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информирования граждан на регулярной основе</a:t>
          </a:r>
          <a:r>
            <a:rPr lang="ru-RU" sz="8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 о реализации региональных проектов, в </a:t>
          </a:r>
          <a:r>
            <a:rPr lang="ru-RU" sz="800" kern="1200" dirty="0" err="1" smtClean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т.ч</a:t>
          </a:r>
          <a:r>
            <a:rPr lang="ru-RU" sz="800" kern="1200" dirty="0" smtClean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. о  </a:t>
          </a:r>
          <a:r>
            <a:rPr lang="ru-RU" sz="8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планируемых</a:t>
          </a:r>
          <a:r>
            <a:rPr lang="ru-RU" sz="800" kern="1200" dirty="0" smtClean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, о </a:t>
          </a:r>
          <a:r>
            <a:rPr lang="ru-RU" sz="8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созданных,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8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 объектах и предоставляемых услугах на территориях муниципальных образований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8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3) учет </a:t>
          </a:r>
          <a:r>
            <a:rPr lang="ru-RU" sz="800" b="1" i="1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мнения и потребностей </a:t>
          </a:r>
          <a:r>
            <a:rPr lang="ru-RU" sz="8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(с учетом их приоритетов) населения территории муниципальных образований при реализации региональных проектов;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8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4) учет </a:t>
          </a:r>
          <a:r>
            <a:rPr lang="ru-RU" sz="800" b="1" i="1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востребованности</a:t>
          </a:r>
          <a:r>
            <a:rPr lang="ru-RU" sz="800" i="1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 </a:t>
          </a:r>
          <a:r>
            <a:rPr lang="ru-RU" sz="8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населением территории муниципальных образований объектов и услуг, полученных в рамках достижения результатов региональных проектов;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8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5) учет </a:t>
          </a:r>
          <a:r>
            <a:rPr lang="ru-RU" sz="800" b="1" i="1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удовлетворенности</a:t>
          </a:r>
          <a:r>
            <a:rPr lang="ru-RU" sz="800" i="1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 </a:t>
          </a:r>
          <a:r>
            <a:rPr lang="ru-RU" sz="8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населения территории муниципальных образований качеством функционирования созданных объектов и представления услуг, полученных в рамках региональных проектов</a:t>
          </a:r>
          <a:r>
            <a:rPr lang="ru-RU" sz="900" kern="1200" dirty="0">
              <a:solidFill>
                <a:sysClr val="windowText" lastClr="000000"/>
              </a:solidFill>
              <a:latin typeface="Arial" pitchFamily="34" charset="0"/>
              <a:ea typeface="+mn-ea"/>
              <a:cs typeface="Arial" pitchFamily="34" charset="0"/>
            </a:rPr>
            <a:t>;</a:t>
          </a:r>
        </a:p>
      </dsp:txBody>
      <dsp:txXfrm>
        <a:off x="2117702" y="1633550"/>
        <a:ext cx="2744743" cy="3118453"/>
      </dsp:txXfrm>
    </dsp:sp>
    <dsp:sp modelId="{13ACBB32-74ED-45A3-8795-677A7BF953AF}">
      <dsp:nvSpPr>
        <dsp:cNvPr id="0" name=""/>
        <dsp:cNvSpPr/>
      </dsp:nvSpPr>
      <dsp:spPr>
        <a:xfrm>
          <a:off x="5083740" y="592072"/>
          <a:ext cx="1650871" cy="506999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0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Общественно-экспертные советы субъекта РФ</a:t>
          </a:r>
        </a:p>
      </dsp:txBody>
      <dsp:txXfrm>
        <a:off x="5083740" y="592072"/>
        <a:ext cx="1650871" cy="506999"/>
      </dsp:txXfrm>
    </dsp:sp>
    <dsp:sp modelId="{296591D2-9536-4319-93C2-42F621422199}">
      <dsp:nvSpPr>
        <dsp:cNvPr id="0" name=""/>
        <dsp:cNvSpPr/>
      </dsp:nvSpPr>
      <dsp:spPr>
        <a:xfrm>
          <a:off x="5129682" y="1267691"/>
          <a:ext cx="1643705" cy="1178232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0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Независимые представители общественных и деловых объединений, организаций и групп граждан муниципальных образований</a:t>
          </a:r>
        </a:p>
      </dsp:txBody>
      <dsp:txXfrm>
        <a:off x="5129682" y="1267691"/>
        <a:ext cx="1643705" cy="1178232"/>
      </dsp:txXfrm>
    </dsp:sp>
    <dsp:sp modelId="{3C116627-DEF8-4980-AFCE-C4A29080FCF3}">
      <dsp:nvSpPr>
        <dsp:cNvPr id="0" name=""/>
        <dsp:cNvSpPr/>
      </dsp:nvSpPr>
      <dsp:spPr>
        <a:xfrm>
          <a:off x="6988881" y="592072"/>
          <a:ext cx="1538137" cy="857521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000" b="1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Контрольные мероприятия, организованные региональным проектным офисом </a:t>
          </a:r>
        </a:p>
      </dsp:txBody>
      <dsp:txXfrm>
        <a:off x="6988881" y="592072"/>
        <a:ext cx="1538137" cy="857521"/>
      </dsp:txXfrm>
    </dsp:sp>
    <dsp:sp modelId="{0AB3C2AA-7A91-42D5-9223-7FDB822A48D5}">
      <dsp:nvSpPr>
        <dsp:cNvPr id="0" name=""/>
        <dsp:cNvSpPr/>
      </dsp:nvSpPr>
      <dsp:spPr>
        <a:xfrm>
          <a:off x="7018323" y="1621914"/>
          <a:ext cx="1508695" cy="645853"/>
        </a:xfrm>
        <a:prstGeom prst="rect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0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 pitchFamily="34" charset="0"/>
              <a:ea typeface="+mn-ea"/>
              <a:cs typeface="Arial" pitchFamily="34" charset="0"/>
            </a:rPr>
            <a:t>Представители   муниципальных                     образований</a:t>
          </a:r>
        </a:p>
      </dsp:txBody>
      <dsp:txXfrm>
        <a:off x="7018323" y="1621914"/>
        <a:ext cx="1508695" cy="6458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F5E9D9-5817-4287-AF29-9BABC0BDB5B7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07955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3" y="9307955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8A81EC-1535-4C9A-8980-9E95E58639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32787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6D19FE-218A-4390-A18D-7902136B0AAD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1600" y="735013"/>
            <a:ext cx="6532563" cy="3675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54828"/>
            <a:ext cx="5388610" cy="440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07955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07955"/>
            <a:ext cx="2918831" cy="489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3FABD8-904F-43DF-A504-0196F4F9D11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14826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fld id="{F60F6D9B-DC49-4CFE-9472-EE04767D87A3}" type="slidenum">
              <a:rPr lang="ru-RU" altLang="ru-RU">
                <a:latin typeface="Arial" charset="0"/>
              </a:rPr>
              <a:pPr/>
              <a:t>19</a:t>
            </a:fld>
            <a:endParaRPr lang="ru-RU" altLang="ru-RU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A32C5B-C17B-42B1-A390-F703D622069A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12303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A32C5B-C17B-42B1-A390-F703D622069A}" type="slidenum">
              <a:rPr lang="ru-RU" smtClean="0"/>
              <a:t>5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2063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7973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47071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3189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700" b="1" i="0" baseline="0" dirty="0">
              <a:latin typeface="Trebuchet MS"/>
              <a:sym typeface="Trebuchet M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1282" y="445303"/>
            <a:ext cx="8439104" cy="373949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1281" y="1171575"/>
            <a:ext cx="8439150" cy="305157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351283" y="881765"/>
            <a:ext cx="3915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351282" y="291471"/>
            <a:ext cx="8439104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900" cap="all" baseline="0">
                <a:solidFill>
                  <a:schemeClr val="accent1"/>
                </a:solidFill>
              </a:defRPr>
            </a:lvl1pPr>
            <a:lvl2pPr marL="342892" indent="0">
              <a:buFont typeface="Arial" panose="020B0604020202020204" pitchFamily="34" charset="0"/>
              <a:buNone/>
              <a:defRPr/>
            </a:lvl2pPr>
            <a:lvl3pPr marL="685783" indent="0">
              <a:buFont typeface="Arial" panose="020B0604020202020204" pitchFamily="34" charset="0"/>
              <a:buNone/>
              <a:defRPr/>
            </a:lvl3pPr>
            <a:lvl4pPr marL="1028675" indent="0">
              <a:buFont typeface="Arial" panose="020B0604020202020204" pitchFamily="34" charset="0"/>
              <a:buNone/>
              <a:defRPr/>
            </a:lvl4pPr>
            <a:lvl5pPr marL="1371566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8217099" y="4891688"/>
            <a:ext cx="333971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6154142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9776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67182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5634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46847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41189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40489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2701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3893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6B099C-D988-4043-80D8-2A08FDBF0235}" type="datetimeFigureOut">
              <a:rPr lang="ru-RU" smtClean="0"/>
              <a:t>23.0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8FB0CF-34AA-4466-B7ED-C65172AA799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6855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11" Type="http://schemas.openxmlformats.org/officeDocument/2006/relationships/image" Target="../media/image21.jpeg"/><Relationship Id="rId5" Type="http://schemas.openxmlformats.org/officeDocument/2006/relationships/image" Target="../media/image15.jpeg"/><Relationship Id="rId10" Type="http://schemas.openxmlformats.org/officeDocument/2006/relationships/image" Target="../media/image20.jpeg"/><Relationship Id="rId4" Type="http://schemas.openxmlformats.org/officeDocument/2006/relationships/image" Target="../media/image14.jpeg"/><Relationship Id="rId9" Type="http://schemas.openxmlformats.org/officeDocument/2006/relationships/image" Target="../media/image19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consultant.ru/document/cons_doc_LAW_155088/" TargetMode="Externa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45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hyperlink" Target="mailto:i.s.rosha@adm.khv.ru" TargetMode="Externa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diagramLayout" Target="../diagrams/layout11.xml"/><Relationship Id="rId7" Type="http://schemas.openxmlformats.org/officeDocument/2006/relationships/image" Target="../media/image51.jpeg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6.jpeg"/><Relationship Id="rId4" Type="http://schemas.openxmlformats.org/officeDocument/2006/relationships/image" Target="../media/image55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3" Type="http://schemas.openxmlformats.org/officeDocument/2006/relationships/diagramLayout" Target="../diagrams/layout12.xml"/><Relationship Id="rId7" Type="http://schemas.openxmlformats.org/officeDocument/2006/relationships/diagramData" Target="../diagrams/data13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2.xml"/><Relationship Id="rId11" Type="http://schemas.microsoft.com/office/2007/relationships/diagramDrawing" Target="../diagrams/drawing13.xml"/><Relationship Id="rId5" Type="http://schemas.openxmlformats.org/officeDocument/2006/relationships/diagramColors" Target="../diagrams/colors12.xml"/><Relationship Id="rId10" Type="http://schemas.openxmlformats.org/officeDocument/2006/relationships/diagramColors" Target="../diagrams/colors13.xml"/><Relationship Id="rId4" Type="http://schemas.openxmlformats.org/officeDocument/2006/relationships/diagramQuickStyle" Target="../diagrams/quickStyle12.xml"/><Relationship Id="rId9" Type="http://schemas.openxmlformats.org/officeDocument/2006/relationships/diagramQuickStyle" Target="../diagrams/quickStyle1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youtu.be/yLCrD3i6TGI" TargetMode="External"/><Relationship Id="rId5" Type="http://schemas.openxmlformats.org/officeDocument/2006/relationships/image" Target="../media/image60.png"/><Relationship Id="rId4" Type="http://schemas.openxmlformats.org/officeDocument/2006/relationships/image" Target="../media/image59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hyperlink" Target="https://smarteka.com/practices/osnovy-samozanatosti-kak-nacal-naa-skola-predprinimatel-stva?tab=task" TargetMode="External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youtube.com/watch?v=eDQbC5UbDpw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3568" y="1851670"/>
            <a:ext cx="7772400" cy="1656184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ПРАКТИКИ  МЕЖСЕКТОРНОГО  ВЗАИМОДЕЙСТВИЕ </a:t>
            </a:r>
            <a:br>
              <a:rPr lang="ru-RU" sz="2800" b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</a:br>
            <a:r>
              <a:rPr lang="ru-RU" sz="2800" b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В  МЕСТНОМ  САМОУПРАВЛЕНИИ:</a:t>
            </a:r>
            <a:br>
              <a:rPr lang="ru-RU" sz="2800" b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</a:br>
            <a:r>
              <a:rPr lang="ru-RU" sz="2800" b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 </a:t>
            </a:r>
            <a:r>
              <a:rPr lang="ru-RU" sz="2800" dirty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из</a:t>
            </a:r>
            <a:r>
              <a:rPr lang="ru-RU" sz="2800" b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 </a:t>
            </a:r>
            <a:r>
              <a:rPr lang="ru-RU" sz="2800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опыта Дальневосточного </a:t>
            </a:r>
            <a:r>
              <a:rPr lang="ru-RU" sz="2800" dirty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н</a:t>
            </a:r>
            <a:r>
              <a:rPr lang="ru-RU" sz="2800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аучного                                      центра местного самоуправления  </a:t>
            </a:r>
            <a:endParaRPr lang="ru-RU" sz="2800" dirty="0">
              <a:solidFill>
                <a:srgbClr val="C00000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51720" y="393204"/>
            <a:ext cx="6552728" cy="1098426"/>
          </a:xfrm>
        </p:spPr>
        <p:txBody>
          <a:bodyPr>
            <a:noAutofit/>
          </a:bodyPr>
          <a:lstStyle/>
          <a:p>
            <a:pPr>
              <a:lnSpc>
                <a:spcPts val="2000"/>
              </a:lnSpc>
              <a:spcBef>
                <a:spcPts val="0"/>
              </a:spcBef>
            </a:pPr>
            <a:r>
              <a:rPr lang="ru-RU" sz="1600" b="1" dirty="0" smtClean="0">
                <a:solidFill>
                  <a:srgbClr val="002060"/>
                </a:solidFill>
                <a:latin typeface="Calibri Light" pitchFamily="34" charset="0"/>
                <a:cs typeface="Calibri Light" pitchFamily="34" charset="0"/>
              </a:rPr>
              <a:t>Дальневосточная ассоциация управления проектами </a:t>
            </a:r>
          </a:p>
          <a:p>
            <a:pPr>
              <a:lnSpc>
                <a:spcPts val="2000"/>
              </a:lnSpc>
              <a:spcBef>
                <a:spcPts val="0"/>
              </a:spcBef>
            </a:pPr>
            <a:r>
              <a:rPr lang="ru-RU" sz="1600" b="1" dirty="0" smtClean="0">
                <a:solidFill>
                  <a:srgbClr val="002060"/>
                </a:solidFill>
                <a:latin typeface="Calibri Light" pitchFamily="34" charset="0"/>
                <a:cs typeface="Calibri Light" pitchFamily="34" charset="0"/>
              </a:rPr>
              <a:t>Семинар "</a:t>
            </a:r>
            <a:r>
              <a:rPr lang="ru-RU" sz="1600" b="1" dirty="0">
                <a:solidFill>
                  <a:srgbClr val="002060"/>
                </a:solidFill>
                <a:latin typeface="Calibri Light" pitchFamily="34" charset="0"/>
                <a:cs typeface="Calibri Light" pitchFamily="34" charset="0"/>
              </a:rPr>
              <a:t>Формы и методы межсекторного взаимодействия" </a:t>
            </a:r>
            <a:endParaRPr lang="ru-RU" sz="1600" b="1" dirty="0" smtClean="0">
              <a:solidFill>
                <a:srgbClr val="002060"/>
              </a:solidFill>
              <a:latin typeface="Calibri Light" pitchFamily="34" charset="0"/>
              <a:cs typeface="Calibri Light" pitchFamily="34" charset="0"/>
            </a:endParaRPr>
          </a:p>
          <a:p>
            <a:pPr>
              <a:lnSpc>
                <a:spcPts val="2000"/>
              </a:lnSpc>
              <a:spcBef>
                <a:spcPts val="0"/>
              </a:spcBef>
            </a:pPr>
            <a:r>
              <a:rPr lang="ru-RU" sz="1600" b="1" dirty="0" smtClean="0">
                <a:solidFill>
                  <a:srgbClr val="002060"/>
                </a:solidFill>
                <a:latin typeface="Calibri Light" pitchFamily="34" charset="0"/>
                <a:cs typeface="Calibri Light" pitchFamily="34" charset="0"/>
              </a:rPr>
              <a:t>Благовещенск, 27 января 2021 года  </a:t>
            </a:r>
            <a:endParaRPr lang="ru-RU" sz="1600" b="1" dirty="0">
              <a:solidFill>
                <a:srgbClr val="002060"/>
              </a:solidFill>
              <a:latin typeface="Calibri Light" pitchFamily="34" charset="0"/>
              <a:cs typeface="Calibri Light" pitchFamily="34" charset="0"/>
            </a:endParaRPr>
          </a:p>
        </p:txBody>
      </p:sp>
      <p:pic>
        <p:nvPicPr>
          <p:cNvPr id="2050" name="Picture 2" descr="https://familnyjgerb.com/wp-content/uploads/2015/05/blagoveshchensk-1024x102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95486"/>
            <a:ext cx="1368152" cy="1368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23528" y="3812829"/>
            <a:ext cx="8532440" cy="8912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69900" indent="-469900" algn="ctr">
              <a:lnSpc>
                <a:spcPct val="70000"/>
              </a:lnSpc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ru-RU" sz="1600" b="1" i="1" dirty="0" smtClean="0"/>
              <a:t>Максим Анатольевич </a:t>
            </a:r>
            <a:r>
              <a:rPr lang="ru-RU" sz="1600" b="1" i="1" dirty="0" err="1" smtClean="0"/>
              <a:t>Поличка</a:t>
            </a:r>
            <a:r>
              <a:rPr lang="ru-RU" sz="1600" b="1" i="1" dirty="0" smtClean="0"/>
              <a:t>,</a:t>
            </a:r>
          </a:p>
          <a:p>
            <a:pPr marL="469900" indent="-469900" algn="ctr">
              <a:lnSpc>
                <a:spcPct val="70000"/>
              </a:lnSpc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ru-RU" sz="1600" i="1" dirty="0" smtClean="0"/>
              <a:t>замдиректора по правовым исследованиям  ДВ научного центра местного  самоуправления, директор ДВ центра инноваций социальной сферы, </a:t>
            </a:r>
          </a:p>
          <a:p>
            <a:pPr marL="469900" indent="-469900" algn="ctr">
              <a:lnSpc>
                <a:spcPct val="70000"/>
              </a:lnSpc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ru-RU" sz="1600" i="1" dirty="0" smtClean="0"/>
              <a:t>кандидат юридических наук</a:t>
            </a:r>
            <a:r>
              <a:rPr lang="ru-RU" sz="1600" b="1" i="1" dirty="0" smtClean="0"/>
              <a:t> </a:t>
            </a:r>
            <a:endParaRPr lang="ru-RU" sz="1600" b="1" i="1" dirty="0"/>
          </a:p>
        </p:txBody>
      </p:sp>
    </p:spTree>
    <p:extLst>
      <p:ext uri="{BB962C8B-B14F-4D97-AF65-F5344CB8AC3E}">
        <p14:creationId xmlns:p14="http://schemas.microsoft.com/office/powerpoint/2010/main" val="2992666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1838027"/>
          </a:xfrm>
        </p:spPr>
        <p:txBody>
          <a:bodyPr>
            <a:normAutofit/>
          </a:bodyPr>
          <a:lstStyle/>
          <a:p>
            <a:pPr lvl="0"/>
            <a:r>
              <a:rPr lang="ru-RU" sz="360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Практики межсекторного взаимодействия</a:t>
            </a:r>
            <a:br>
              <a:rPr lang="ru-RU" sz="360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</a:br>
            <a:r>
              <a:rPr lang="ru-RU" sz="360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36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тратегическом планировании </a:t>
            </a:r>
          </a:p>
        </p:txBody>
      </p:sp>
    </p:spTree>
    <p:extLst>
      <p:ext uri="{BB962C8B-B14F-4D97-AF65-F5344CB8AC3E}">
        <p14:creationId xmlns:p14="http://schemas.microsoft.com/office/powerpoint/2010/main" val="1429076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37574" y="303499"/>
            <a:ext cx="7668852" cy="2808311"/>
          </a:xfrm>
        </p:spPr>
        <p:txBody>
          <a:bodyPr>
            <a:normAutofit lnSpcReduction="10000"/>
          </a:bodyPr>
          <a:lstStyle/>
          <a:p>
            <a:pPr algn="r">
              <a:buNone/>
              <a:defRPr/>
            </a:pPr>
            <a:r>
              <a:rPr lang="ru-RU" b="1" dirty="0"/>
              <a:t> 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Федеральный закон от 28.06.2014 N 172-ФЗ</a:t>
            </a:r>
          </a:p>
          <a:p>
            <a:pPr algn="r">
              <a:buNone/>
              <a:defRPr/>
            </a:pPr>
            <a:r>
              <a:rPr lang="ru-RU" sz="1500" dirty="0">
                <a:latin typeface="Arial" pitchFamily="34" charset="0"/>
                <a:cs typeface="Arial" pitchFamily="34" charset="0"/>
              </a:rPr>
              <a:t>                                                </a:t>
            </a:r>
            <a:r>
              <a:rPr lang="ru-RU" sz="2300" dirty="0">
                <a:solidFill>
                  <a:srgbClr val="C00000"/>
                </a:solidFill>
                <a:latin typeface="+mj-lt"/>
                <a:cs typeface="Arial" pitchFamily="34" charset="0"/>
              </a:rPr>
              <a:t>«О стратегическом планировании                                               в Российской Федерации»</a:t>
            </a:r>
            <a:endParaRPr lang="ru-RU" sz="1800" dirty="0">
              <a:solidFill>
                <a:srgbClr val="C00000"/>
              </a:solidFill>
              <a:latin typeface="+mj-lt"/>
              <a:cs typeface="Arial" pitchFamily="34" charset="0"/>
            </a:endParaRPr>
          </a:p>
          <a:p>
            <a:pPr algn="ctr">
              <a:buNone/>
              <a:defRPr/>
            </a:pPr>
            <a:endParaRPr lang="ru-RU" sz="1800" i="1" dirty="0">
              <a:solidFill>
                <a:srgbClr val="C00000"/>
              </a:solidFill>
              <a:latin typeface="+mj-lt"/>
              <a:cs typeface="Arial" pitchFamily="34" charset="0"/>
            </a:endParaRPr>
          </a:p>
          <a:p>
            <a:pPr>
              <a:buNone/>
              <a:defRPr/>
            </a:pPr>
            <a:r>
              <a:rPr lang="ru-RU" sz="1500" i="1" dirty="0">
                <a:latin typeface="Arial" pitchFamily="34" charset="0"/>
                <a:cs typeface="Arial" pitchFamily="34" charset="0"/>
              </a:rPr>
              <a:t>Статья 6. Полномочия органов местного самоуправления в сфере стратегического планирования</a:t>
            </a:r>
          </a:p>
          <a:p>
            <a:pPr lvl="1">
              <a:buNone/>
              <a:defRPr/>
            </a:pPr>
            <a:r>
              <a:rPr lang="ru-RU" sz="1400" i="1" dirty="0">
                <a:latin typeface="Arial" pitchFamily="34" charset="0"/>
                <a:cs typeface="Arial" pitchFamily="34" charset="0"/>
              </a:rPr>
              <a:t> 2) разработка, рассмотрение, утверждение (одобрение) и реализация документов стратегического планирования </a:t>
            </a:r>
            <a:r>
              <a:rPr lang="ru-RU" sz="1400" b="1" i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по вопросам, отнесенным к полномочиям органов местного самоуправления;  </a:t>
            </a:r>
          </a:p>
          <a:p>
            <a:endParaRPr lang="ru-RU" sz="1400" i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9592" y="303498"/>
            <a:ext cx="1404156" cy="129514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</p:pic>
      <p:sp>
        <p:nvSpPr>
          <p:cNvPr id="7" name="Прямоугольник 6"/>
          <p:cNvSpPr/>
          <p:nvPr/>
        </p:nvSpPr>
        <p:spPr>
          <a:xfrm>
            <a:off x="737574" y="3216190"/>
            <a:ext cx="7776864" cy="1515800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 lIns="68580" tIns="34290" rIns="68580" bIns="34290">
            <a:spAutoFit/>
          </a:bodyPr>
          <a:lstStyle/>
          <a:p>
            <a:pPr algn="just"/>
            <a:r>
              <a:rPr lang="ru-RU" sz="1400" i="1" dirty="0">
                <a:latin typeface="Arial" pitchFamily="34" charset="0"/>
                <a:cs typeface="Arial" pitchFamily="34" charset="0"/>
              </a:rPr>
              <a:t>Статья 11. </a:t>
            </a:r>
          </a:p>
          <a:p>
            <a:pPr indent="342900" algn="just"/>
            <a:r>
              <a:rPr lang="ru-RU" sz="1600" i="1" dirty="0">
                <a:latin typeface="Arial" pitchFamily="34" charset="0"/>
                <a:cs typeface="Arial" pitchFamily="34" charset="0"/>
              </a:rPr>
              <a:t>7. К разработке документов стратегического планирования могут привлекаться </a:t>
            </a:r>
            <a:r>
              <a:rPr lang="ru-RU" sz="1600" b="1" i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бъединения профсоюзов и работодателей, общественные, научные и иные организации </a:t>
            </a:r>
            <a:r>
              <a:rPr lang="ru-RU" sz="1600" i="1" dirty="0">
                <a:latin typeface="Arial" pitchFamily="34" charset="0"/>
                <a:cs typeface="Arial" pitchFamily="34" charset="0"/>
              </a:rPr>
              <a:t>с учетом требований законодательства Российской Федерации о государственной, коммерческой, служебной и иной охраняемой законом тайне</a:t>
            </a:r>
            <a:r>
              <a:rPr lang="ru-RU" sz="1600" i="1" dirty="0" smtClean="0">
                <a:latin typeface="Arial" pitchFamily="34" charset="0"/>
                <a:cs typeface="Arial" pitchFamily="34" charset="0"/>
              </a:rPr>
              <a:t>.</a:t>
            </a:r>
            <a:r>
              <a:rPr lang="ru-RU" sz="1600" i="1" dirty="0">
                <a:latin typeface="Arial" pitchFamily="34" charset="0"/>
                <a:cs typeface="Arial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764305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2763442" y="141685"/>
            <a:ext cx="3317786" cy="971550"/>
          </a:xfrm>
        </p:spPr>
        <p:txBody>
          <a:bodyPr>
            <a:normAutofit/>
          </a:bodyPr>
          <a:lstStyle/>
          <a:p>
            <a:pPr algn="ctr" eaLnBrk="1" hangingPunct="1">
              <a:lnSpc>
                <a:spcPct val="80000"/>
              </a:lnSpc>
            </a:pPr>
            <a:r>
              <a:rPr lang="ru-RU" altLang="ru-RU" sz="1600" dirty="0"/>
              <a:t>Местное самоуправление должно  обеспечить «производство» на территории муниципалитета 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idx="1"/>
          </p:nvPr>
        </p:nvSpPr>
        <p:spPr>
          <a:xfrm>
            <a:off x="2883160" y="1161613"/>
            <a:ext cx="3198068" cy="3833813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ru-RU" sz="1200" i="1" dirty="0"/>
              <a:t>услуг по электроснабжению, теплоснабжению, газоснабжению, и т.д. водоснабжению и водоотведению;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ru-RU" sz="1200" i="1" dirty="0"/>
              <a:t>образовательных услуг (дошкольного, школьного, дополнительного образования);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ru-RU" sz="1200" i="1" dirty="0"/>
              <a:t>услуг здравоохранения; 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ru-RU" sz="1200" i="1" dirty="0"/>
              <a:t>услуг отдыха, досуга, культуры: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ru-RU" sz="1200" i="1" dirty="0"/>
              <a:t>физкультуры и спорта; 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ru-RU" sz="1200" i="1" dirty="0"/>
              <a:t>мероприятия для  молодёжи: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ru-RU" sz="1200" i="1" dirty="0"/>
              <a:t>услуги связи, общественного питания, торговли;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ru-RU" sz="1200" i="1" dirty="0"/>
              <a:t>транспортных услуг; 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ru-RU" sz="1200" i="1" dirty="0"/>
              <a:t>услуг бытового обслуживания; 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ru-RU" sz="1200" i="1" dirty="0"/>
              <a:t>ритуальных услуг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endParaRPr lang="ru-RU" sz="1200" i="1" dirty="0"/>
          </a:p>
          <a:p>
            <a:pPr marL="0" indent="0" algn="ctr">
              <a:lnSpc>
                <a:spcPct val="80000"/>
              </a:lnSpc>
              <a:spcBef>
                <a:spcPts val="0"/>
              </a:spcBef>
              <a:buNone/>
              <a:defRPr/>
            </a:pPr>
            <a:r>
              <a:rPr lang="ru-RU" sz="2000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которые являются составляющими                           «качества жизни» </a:t>
            </a:r>
            <a:r>
              <a:rPr lang="ru-RU" sz="1600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  </a:t>
            </a:r>
          </a:p>
        </p:txBody>
      </p:sp>
      <p:pic>
        <p:nvPicPr>
          <p:cNvPr id="8196" name="Рисунок 3" descr="Военная прокуратура Польши: Следов взрывчатки на обломках Ту-154 нет Хроника событий Смоленск. Хроника событий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669"/>
            <a:ext cx="1341835" cy="1006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Рисунок 4" descr="Постижение авторитета. 21.b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76" y="1042988"/>
            <a:ext cx="1335881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8" name="Рисунок 5" descr="Праздник Троицы в Калязине (С прогулкой на теплоходе и пикником)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050256"/>
            <a:ext cx="1350169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9" name="Рисунок 6" descr="Укротитель кудряшек и мастер креатива - Новости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334" y="3057524"/>
            <a:ext cx="1350169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0" name="Рисунок 7" descr="Швейная мастерская на дому Bporta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4" y="4069847"/>
            <a:ext cx="1314450" cy="1025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1" name="Рисунок 8" descr="Строительство деревянного дома своими руками - Строительство и ремонт: прайсы 2013 года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119" y="33338"/>
            <a:ext cx="1350169" cy="972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2" name="Picture 7" descr="http://i2.reporter63.ru/0C37041A-MAQyBEIEPg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7554" y="1006079"/>
            <a:ext cx="1350169" cy="101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3" name="Picture 9" descr="http://idis.nichost.ru/images/news/tver_seo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5685" y="3057525"/>
            <a:ext cx="1363266" cy="1026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4" name="Picture 11" descr="http://news.mail.ru/prev670w/pic/12/80/main12375057_ea24a1763e7424f0305ab0d4cfeeac21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945" y="4088606"/>
            <a:ext cx="1322784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5" name="Picture 13" descr="http://www.gorodfm.net/netcat_files/2551_3027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313" y="2072879"/>
            <a:ext cx="1370410" cy="94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6323076" y="244929"/>
            <a:ext cx="2634314" cy="483680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  <a:defRPr/>
            </a:pPr>
            <a:endParaRPr lang="ru-RU" sz="1100" dirty="0"/>
          </a:p>
          <a:p>
            <a:pPr marL="0" indent="0" algn="ctr">
              <a:spcBef>
                <a:spcPts val="0"/>
              </a:spcBef>
              <a:buNone/>
              <a:defRPr/>
            </a:pPr>
            <a:r>
              <a:rPr lang="ru-RU" sz="1600" dirty="0"/>
              <a:t>Производить  большинство этих услуг должны субъекты малого предпринимательства                     и СОНКО.</a:t>
            </a:r>
          </a:p>
          <a:p>
            <a:pPr marL="0" indent="0" algn="ctr">
              <a:spcBef>
                <a:spcPts val="0"/>
              </a:spcBef>
              <a:buNone/>
              <a:defRPr/>
            </a:pPr>
            <a:endParaRPr lang="ru-RU" sz="1600" dirty="0"/>
          </a:p>
          <a:p>
            <a:pPr marL="0" indent="0" algn="ctr">
              <a:spcBef>
                <a:spcPts val="0"/>
              </a:spcBef>
              <a:spcAft>
                <a:spcPts val="900"/>
              </a:spcAft>
              <a:buNone/>
              <a:defRPr/>
            </a:pPr>
            <a:r>
              <a:rPr lang="ru-RU" sz="1600" dirty="0">
                <a:solidFill>
                  <a:srgbClr val="002060"/>
                </a:solidFill>
              </a:rPr>
              <a:t>Но для этого им необходим </a:t>
            </a:r>
            <a:r>
              <a:rPr lang="ru-RU" sz="1600" b="1" dirty="0">
                <a:solidFill>
                  <a:srgbClr val="002060"/>
                </a:solidFill>
              </a:rPr>
              <a:t>благоприятный инвестиционный климат</a:t>
            </a:r>
            <a:r>
              <a:rPr lang="ru-RU" sz="1600" dirty="0">
                <a:solidFill>
                  <a:srgbClr val="002060"/>
                </a:solidFill>
              </a:rPr>
              <a:t>,     включающий в себя:</a:t>
            </a:r>
          </a:p>
          <a:p>
            <a:pPr marL="0" indent="0" algn="ctr">
              <a:spcBef>
                <a:spcPts val="0"/>
              </a:spcBef>
              <a:spcAft>
                <a:spcPts val="900"/>
              </a:spcAft>
              <a:buNone/>
              <a:defRPr/>
            </a:pPr>
            <a:r>
              <a:rPr lang="ru-RU" sz="1600" dirty="0">
                <a:solidFill>
                  <a:srgbClr val="C00000"/>
                </a:solidFill>
              </a:rPr>
              <a:t>1) наличие информации                    о спросе (потребностях) населения на городские услуги в каждом районе города,</a:t>
            </a:r>
          </a:p>
          <a:p>
            <a:pPr marL="0" indent="0" algn="ctr">
              <a:spcBef>
                <a:spcPts val="0"/>
              </a:spcBef>
              <a:spcAft>
                <a:spcPts val="900"/>
              </a:spcAft>
              <a:buNone/>
              <a:defRPr/>
            </a:pPr>
            <a:r>
              <a:rPr lang="ru-RU" sz="1600" dirty="0">
                <a:solidFill>
                  <a:srgbClr val="C00000"/>
                </a:solidFill>
              </a:rPr>
              <a:t>2) оценку  состояния инвестиционного климата на рынках городских услуг.     </a:t>
            </a:r>
            <a:endParaRPr lang="ru-RU" sz="1600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225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275607"/>
            <a:ext cx="7772400" cy="2232248"/>
          </a:xfrm>
        </p:spPr>
        <p:txBody>
          <a:bodyPr>
            <a:normAutofit/>
          </a:bodyPr>
          <a:lstStyle/>
          <a:p>
            <a:pPr lvl="0"/>
            <a:r>
              <a:rPr lang="ru-RU" sz="2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ежсекторное взаимодействие  </a:t>
            </a:r>
            <a:r>
              <a:rPr 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при мониторинге (маркетинговых исследованиях)  </a:t>
            </a:r>
            <a:r>
              <a:rPr lang="ru-RU" sz="2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униципальных отраслевых </a:t>
            </a:r>
            <a:r>
              <a:rPr 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ынков</a:t>
            </a:r>
            <a:endParaRPr lang="ru-RU" sz="2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596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203599"/>
            <a:ext cx="2520280" cy="367240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166827" y="4443958"/>
            <a:ext cx="604973" cy="3462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2017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131840" y="1203598"/>
            <a:ext cx="5688632" cy="353173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/>
            <a:r>
              <a:rPr lang="ru-RU" sz="1500" b="1" dirty="0" smtClean="0"/>
              <a:t>Реализация проекта </a:t>
            </a:r>
            <a:endParaRPr lang="ru-RU" sz="1500" b="1" dirty="0">
              <a:solidFill>
                <a:srgbClr val="C00000"/>
              </a:solidFill>
            </a:endParaRPr>
          </a:p>
          <a:p>
            <a:pPr marL="342900" lvl="0" indent="-342900">
              <a:buAutoNum type="arabicPeriod"/>
            </a:pPr>
            <a:r>
              <a:rPr lang="ru-RU" sz="1400" dirty="0" smtClean="0"/>
              <a:t>Студенты  </a:t>
            </a:r>
            <a:r>
              <a:rPr lang="ru-RU" sz="1400" dirty="0"/>
              <a:t>ДВИУ </a:t>
            </a:r>
            <a:r>
              <a:rPr lang="ru-RU" sz="1400" dirty="0" err="1"/>
              <a:t>РАНХиГС</a:t>
            </a:r>
            <a:r>
              <a:rPr lang="ru-RU" sz="1400" dirty="0"/>
              <a:t> привлечены к разработке Анкет для </a:t>
            </a:r>
            <a:r>
              <a:rPr lang="ru-RU" sz="1400" dirty="0" err="1" smtClean="0"/>
              <a:t>социсследования</a:t>
            </a:r>
            <a:r>
              <a:rPr lang="ru-RU" sz="1400" dirty="0" smtClean="0"/>
              <a:t> рынка бытовых услуг.</a:t>
            </a:r>
          </a:p>
          <a:p>
            <a:pPr marL="342900" lvl="0" indent="-342900">
              <a:buAutoNum type="arabicPeriod"/>
            </a:pPr>
            <a:r>
              <a:rPr lang="ru-RU" sz="1400" dirty="0" smtClean="0"/>
              <a:t>Учащиеся школ города, где преподаётся  курс «Основы </a:t>
            </a:r>
            <a:r>
              <a:rPr lang="ru-RU" sz="1400" dirty="0" err="1" smtClean="0"/>
              <a:t>самозанятости</a:t>
            </a:r>
            <a:r>
              <a:rPr lang="ru-RU" sz="1400" dirty="0" smtClean="0"/>
              <a:t> и предпринимательства» провели анкетирование своих родителей, а студенты ДВИУ </a:t>
            </a:r>
            <a:r>
              <a:rPr lang="ru-RU" sz="1400" dirty="0" err="1" smtClean="0"/>
              <a:t>РАНХиГС</a:t>
            </a:r>
            <a:r>
              <a:rPr lang="ru-RU" sz="1400" dirty="0" smtClean="0"/>
              <a:t>  обработали анкеты.</a:t>
            </a:r>
          </a:p>
          <a:p>
            <a:pPr marL="342900" lvl="0" indent="-342900">
              <a:buAutoNum type="arabicPeriod"/>
            </a:pPr>
            <a:r>
              <a:rPr lang="ru-RU" sz="1400" dirty="0" smtClean="0"/>
              <a:t>Специалисты ДВНЦМС  сформировали брошюру «Правовые основы бытового обслуживания». </a:t>
            </a:r>
          </a:p>
          <a:p>
            <a:pPr marL="342900" lvl="0" indent="-342900">
              <a:buAutoNum type="arabicPeriod"/>
            </a:pPr>
            <a:r>
              <a:rPr lang="ru-RU" sz="1400" dirty="0" smtClean="0"/>
              <a:t>Полученные результаты анкетирования и брошюра обсуждены с  представителями бизнеса.   </a:t>
            </a:r>
          </a:p>
          <a:p>
            <a:pPr marL="342900" lvl="0" indent="-342900">
              <a:buAutoNum type="arabicPeriod"/>
            </a:pPr>
            <a:r>
              <a:rPr lang="ru-RU" sz="1400" dirty="0" smtClean="0"/>
              <a:t>Проведён круглый стол с представителями  Администрации города, представителями бизнеса и экспертов в сфере бытового обслуживания, где определены проблемы рынка бытовых услуг и разработали предложения по их решению</a:t>
            </a:r>
          </a:p>
          <a:p>
            <a:pPr marL="342900" lvl="0" indent="-342900">
              <a:buAutoNum type="arabicPeriod"/>
            </a:pPr>
            <a:r>
              <a:rPr lang="ru-RU" sz="1400" dirty="0" smtClean="0"/>
              <a:t>Предложения представлены Администрации города для внесения корректив в Планы по развитию рынка бытовых услуг Хабаровска       </a:t>
            </a:r>
            <a:endParaRPr lang="ru-RU" sz="14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60040" y="392926"/>
            <a:ext cx="860444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i="1" dirty="0" smtClean="0"/>
              <a:t>Цель проекта</a:t>
            </a:r>
            <a:r>
              <a:rPr lang="ru-RU" sz="1400" b="1" dirty="0" smtClean="0"/>
              <a:t> </a:t>
            </a:r>
            <a:r>
              <a:rPr lang="ru-RU" sz="1400" dirty="0"/>
              <a:t>- разработать и апробировать технологию участия граждан и их объединений в стратегическом планировании на уровне городского </a:t>
            </a:r>
            <a:r>
              <a:rPr lang="ru-RU" sz="1400" dirty="0" smtClean="0"/>
              <a:t>округа и апробировать  её на примере </a:t>
            </a:r>
            <a:r>
              <a:rPr lang="ru-RU" sz="1400" b="1" i="1" dirty="0"/>
              <a:t>участия граждан и их объединений в разработки стратегии развития бытового обслуживания в </a:t>
            </a:r>
            <a:r>
              <a:rPr lang="ru-RU" sz="1400" b="1" i="1" dirty="0" err="1"/>
              <a:t>г.Хабаровске</a:t>
            </a:r>
            <a:r>
              <a:rPr lang="ru-RU" sz="1400" b="1" i="1" dirty="0"/>
              <a:t>. </a:t>
            </a:r>
            <a:r>
              <a:rPr lang="ru-RU" sz="1400" b="1" i="1" dirty="0" smtClean="0"/>
              <a:t>  </a:t>
            </a:r>
            <a:endParaRPr lang="ru-RU" sz="1400" b="1" i="1" dirty="0"/>
          </a:p>
        </p:txBody>
      </p:sp>
    </p:spTree>
    <p:extLst>
      <p:ext uri="{BB962C8B-B14F-4D97-AF65-F5344CB8AC3E}">
        <p14:creationId xmlns:p14="http://schemas.microsoft.com/office/powerpoint/2010/main" val="1011794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75936"/>
            <a:ext cx="2428022" cy="1543243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Содержимое 2"/>
          <p:cNvSpPr txBox="1">
            <a:spLocks/>
          </p:cNvSpPr>
          <p:nvPr/>
        </p:nvSpPr>
        <p:spPr>
          <a:xfrm>
            <a:off x="3021775" y="195434"/>
            <a:ext cx="3854481" cy="1252167"/>
          </a:xfrm>
          <a:prstGeom prst="rect">
            <a:avLst/>
          </a:prstGeom>
          <a:ln w="9525">
            <a:solidFill>
              <a:schemeClr val="tx2"/>
            </a:solidFill>
          </a:ln>
        </p:spPr>
        <p:txBody>
          <a:bodyPr lIns="68580" tIns="34290" rIns="68580" bIns="34290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ru-RU" altLang="ru-RU" sz="1000" dirty="0"/>
              <a:t> 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altLang="ru-RU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ru-RU" sz="800" b="1" i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  <a:spcAft>
                <a:spcPts val="450"/>
              </a:spcAft>
              <a:buNone/>
            </a:pPr>
            <a:r>
              <a:rPr lang="ru-RU" altLang="ru-RU" sz="18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а 2. Потребности населения как основа для </a:t>
            </a:r>
            <a:r>
              <a:rPr lang="ru-RU" altLang="ru-RU" sz="1800" b="1" i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озанятости</a:t>
            </a:r>
            <a:r>
              <a:rPr lang="ru-RU" altLang="ru-RU" sz="18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5" name="Picture 2" descr="http://img-fotki.yandex.ru/get/4127/167183485.3cb/0_adba2_141a5e2a_ori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7345" y="216008"/>
            <a:ext cx="1877720" cy="1251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949" y="1543051"/>
            <a:ext cx="6138365" cy="3479501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851670"/>
            <a:ext cx="2500030" cy="309634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8665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43274594"/>
              </p:ext>
            </p:extLst>
          </p:nvPr>
        </p:nvGraphicFramePr>
        <p:xfrm>
          <a:off x="629564" y="502445"/>
          <a:ext cx="7938878" cy="4358804"/>
        </p:xfrm>
        <a:graphic>
          <a:graphicData uri="http://schemas.openxmlformats.org/drawingml/2006/table">
            <a:tbl>
              <a:tblPr/>
              <a:tblGrid>
                <a:gridCol w="22501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478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478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4788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4788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4788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4934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619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Наименование услуги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Услуга мне нужна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олучал,                не удов.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Близко от дома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алеко от дома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Цена приемлема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Цена 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высокая</a:t>
                      </a:r>
                      <a:endParaRPr kumimoji="0" 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Услуги парикмахерских, услуги маникюра и педикюра</a:t>
                      </a: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2,3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,3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0,3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9,7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0,8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9,2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90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Изготовление и ремонт обуви</a:t>
                      </a: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6,4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9,0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3,2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6,8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3,8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6,2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90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Ремонт электроники и бытовой техники</a:t>
                      </a: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2,3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9,2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8,6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1,4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7,4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2,6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452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. Пошив и ремонт одежды</a:t>
                      </a: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6,6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,5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2,2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7,8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2,9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7,1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690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. Фотографические и видеографические услуги</a:t>
                      </a: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4,8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,1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5,9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4,1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4,7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5,3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690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. Ремонт и строительство жилья</a:t>
                      </a: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2,8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,8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1,8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8,2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3,6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6,4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. Ремонт и техобслуживание авто- и мототранспортных средств</a:t>
                      </a: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1,8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9,0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5,2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4,8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5,5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4,5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6909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. Услуги бани, сауны, солярия</a:t>
                      </a: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9,0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,5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3,8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6,2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3,1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6,9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559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9. Изготовление, оформление и ремонт мебели</a:t>
                      </a: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8,1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,0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2,9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7,1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5,6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4,4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452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. Ремонт часов</a:t>
                      </a: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1,9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,0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9,4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0,6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8,1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1,9</a:t>
                      </a: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6724" name="Прямоугольник 4"/>
          <p:cNvSpPr>
            <a:spLocks noChangeArrowheads="1"/>
          </p:cNvSpPr>
          <p:nvPr/>
        </p:nvSpPr>
        <p:spPr bwMode="auto">
          <a:xfrm>
            <a:off x="1331119" y="65485"/>
            <a:ext cx="6481763" cy="346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/>
            <a:r>
              <a:rPr lang="ru-RU" altLang="ru-RU" dirty="0">
                <a:solidFill>
                  <a:srgbClr val="C00000"/>
                </a:solidFill>
              </a:rPr>
              <a:t>«Горячая десятка» бытовых услуг Хабаровска</a:t>
            </a:r>
          </a:p>
        </p:txBody>
      </p:sp>
    </p:spTree>
    <p:extLst>
      <p:ext uri="{BB962C8B-B14F-4D97-AF65-F5344CB8AC3E}">
        <p14:creationId xmlns:p14="http://schemas.microsoft.com/office/powerpoint/2010/main" val="1077166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7574" y="357504"/>
            <a:ext cx="5400600" cy="907610"/>
          </a:xfrm>
        </p:spPr>
        <p:txBody>
          <a:bodyPr>
            <a:noAutofit/>
          </a:bodyPr>
          <a:lstStyle/>
          <a:p>
            <a:r>
              <a:rPr lang="ru-RU" sz="21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Задачи по развитию рынка бытового обслуживания в Хабаровске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91580" y="1599642"/>
            <a:ext cx="7722858" cy="2970330"/>
          </a:xfrm>
        </p:spPr>
        <p:txBody>
          <a:bodyPr>
            <a:noAutofit/>
          </a:bodyPr>
          <a:lstStyle/>
          <a:p>
            <a:pPr>
              <a:spcAft>
                <a:spcPts val="450"/>
              </a:spcAft>
              <a:buNone/>
            </a:pPr>
            <a:r>
              <a:rPr lang="ru-RU" sz="1400" b="1" i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Задача 1.</a:t>
            </a:r>
            <a:r>
              <a:rPr lang="ru-RU" sz="14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Установить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нормативы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 по уровню обеспеченности объектами бытового обслуживания и уровню территориальной доступности объектов услуг бытового обслуживания для города Хабаровска </a:t>
            </a:r>
          </a:p>
          <a:p>
            <a:pPr>
              <a:spcAft>
                <a:spcPts val="450"/>
              </a:spcAft>
              <a:buNone/>
            </a:pPr>
            <a:r>
              <a:rPr lang="ru-RU" sz="1400" b="1" i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Задача 2.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В соответствии с установленными нормативами сформировать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перспективную (нормативную)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схему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размещения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объектов бытового обслуживания населения в г.Хабаровске с  перечнем обязательных видов услуг.</a:t>
            </a:r>
          </a:p>
          <a:p>
            <a:pPr>
              <a:spcAft>
                <a:spcPts val="450"/>
              </a:spcAft>
              <a:buNone/>
            </a:pPr>
            <a:r>
              <a:rPr lang="ru-RU" sz="1400" b="1" i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Задача 3.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При реализации инвестиционных проектов по строительству в городе предусматривать создание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комплексных многофункциональных предприятий бытового обслуживания населения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, сформированных на принципах кооперирования…</a:t>
            </a:r>
          </a:p>
          <a:p>
            <a:pPr>
              <a:spcAft>
                <a:spcPts val="450"/>
              </a:spcAft>
              <a:buNone/>
            </a:pPr>
            <a:r>
              <a:rPr lang="ru-RU" sz="1400" b="1" i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Задача 4.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Разработать и реализовать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муниципальную программу (подпрограммы) развития предпринимательства в сфере бытового обслуживания.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2" descr="http://minsk-uslugi.by/uploads/images/bytuslugi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62210" y="249492"/>
            <a:ext cx="2329276" cy="116135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36410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995937" y="1838816"/>
            <a:ext cx="4896544" cy="1669038"/>
          </a:xfrm>
        </p:spPr>
        <p:txBody>
          <a:bodyPr>
            <a:normAutofit fontScale="90000"/>
          </a:bodyPr>
          <a:lstStyle/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околов А.Н.: «В первую очередь разработайте механизмы привлечения немуниципальных поставщиков к предоставлению муниципальных бюджетных услуг  в сфере                        </a:t>
            </a:r>
            <a:r>
              <a:rPr lang="ru-RU" sz="18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ого образования детей»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195486"/>
            <a:ext cx="2538282" cy="1515393"/>
          </a:xfrm>
          <a:prstGeom prst="rect">
            <a:avLst/>
          </a:prstGeom>
        </p:spPr>
      </p:pic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995936" y="3579862"/>
            <a:ext cx="4946076" cy="1134126"/>
          </a:xfrm>
          <a:ln>
            <a:solidFill>
              <a:schemeClr val="accent1"/>
            </a:solidFill>
          </a:ln>
        </p:spPr>
        <p:txBody>
          <a:bodyPr>
            <a:normAutofit fontScale="85000" lnSpcReduction="10000"/>
          </a:bodyPr>
          <a:lstStyle/>
          <a:p>
            <a:pPr algn="l"/>
            <a:r>
              <a:rPr lang="ru-RU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. 16. Вопросы местного значения городского округа</a:t>
            </a:r>
          </a:p>
          <a:p>
            <a:pPr algn="l"/>
            <a:endParaRPr lang="ru-RU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ru-RU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. 13) ….. </a:t>
            </a:r>
            <a:r>
              <a:rPr lang="ru-RU" sz="1800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предоставления дополнительного образования детям в муниципальных образовательных организациях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95486"/>
            <a:ext cx="3419240" cy="475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313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69194" y="1653778"/>
            <a:ext cx="4482704" cy="917972"/>
          </a:xfrm>
          <a:ln w="12700">
            <a:solidFill>
              <a:srgbClr val="002060"/>
            </a:solidFill>
          </a:ln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  <a:defRPr/>
            </a:pPr>
            <a:r>
              <a:rPr lang="ru-RU" sz="11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й закон  №273-ФЗ «Об образовании в РФ», </a:t>
            </a:r>
            <a:r>
              <a:rPr lang="ru-RU" sz="1100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. </a:t>
            </a:r>
            <a:r>
              <a:rPr lang="ru-RU" sz="11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</a:t>
            </a:r>
          </a:p>
          <a:p>
            <a:pPr marL="0" indent="0">
              <a:spcBef>
                <a:spcPct val="0"/>
              </a:spcBef>
              <a:buNone/>
              <a:defRPr/>
            </a:pPr>
            <a:r>
              <a:rPr lang="ru-RU" sz="900" i="1" dirty="0">
                <a:latin typeface="Arial" panose="020B0604020202020204" pitchFamily="34" charset="0"/>
                <a:ea typeface="Times New Roman" panose="02020603050405020304" pitchFamily="18" charset="0"/>
                <a:cs typeface="Arial" charset="0"/>
              </a:rPr>
              <a:t> 1.…Дополнительное образование детей обеспечивает их </a:t>
            </a:r>
          </a:p>
          <a:p>
            <a:pPr indent="257175" algn="just">
              <a:spcBef>
                <a:spcPct val="0"/>
              </a:spcBef>
              <a:defRPr/>
            </a:pPr>
            <a:r>
              <a:rPr lang="ru-RU" sz="900" i="1" dirty="0">
                <a:latin typeface="Arial" panose="020B0604020202020204" pitchFamily="34" charset="0"/>
                <a:ea typeface="Times New Roman" panose="02020603050405020304" pitchFamily="18" charset="0"/>
                <a:cs typeface="Arial" charset="0"/>
              </a:rPr>
              <a:t>адаптацию к жизни в обществе, </a:t>
            </a:r>
          </a:p>
          <a:p>
            <a:pPr indent="257175" algn="just">
              <a:spcBef>
                <a:spcPct val="0"/>
              </a:spcBef>
              <a:defRPr/>
            </a:pPr>
            <a:r>
              <a:rPr lang="ru-RU" sz="900" i="1" dirty="0">
                <a:latin typeface="Arial" panose="020B0604020202020204" pitchFamily="34" charset="0"/>
                <a:ea typeface="Times New Roman" panose="02020603050405020304" pitchFamily="18" charset="0"/>
                <a:cs typeface="Arial" charset="0"/>
              </a:rPr>
              <a:t>профессиональную </a:t>
            </a:r>
            <a:r>
              <a:rPr lang="ru-RU" sz="9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иентацию, </a:t>
            </a:r>
          </a:p>
          <a:p>
            <a:pPr indent="257175" algn="just">
              <a:spcBef>
                <a:spcPct val="0"/>
              </a:spcBef>
              <a:defRPr/>
            </a:pPr>
            <a:r>
              <a:rPr lang="ru-RU" sz="9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также выявление и поддержку детей, проявивших выдающиеся способности</a:t>
            </a:r>
          </a:p>
          <a:p>
            <a:pPr lvl="1">
              <a:spcBef>
                <a:spcPts val="0"/>
              </a:spcBef>
              <a:defRPr/>
            </a:pPr>
            <a:r>
              <a:rPr lang="ru-RU" sz="7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24579" name="Подзаголовок 2"/>
          <p:cNvSpPr txBox="1">
            <a:spLocks/>
          </p:cNvSpPr>
          <p:nvPr/>
        </p:nvSpPr>
        <p:spPr bwMode="auto">
          <a:xfrm>
            <a:off x="1169416" y="4011910"/>
            <a:ext cx="4482704" cy="97155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8580" tIns="34290" rIns="68580" bIns="34290"/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>
              <a:spcAft>
                <a:spcPts val="450"/>
              </a:spcAft>
            </a:pPr>
            <a:r>
              <a:rPr lang="ru-RU" altLang="ru-RU" sz="1100" u="sng">
                <a:solidFill>
                  <a:schemeClr val="tx2"/>
                </a:solidFill>
                <a:latin typeface="Arial" charset="0"/>
                <a:cs typeface="Arial" charset="0"/>
              </a:rPr>
              <a:t>Федеральные законы ;184-ФЗ и  №131-ФЗ </a:t>
            </a:r>
            <a:r>
              <a:rPr lang="ru-RU" altLang="ru-RU" sz="1100">
                <a:solidFill>
                  <a:schemeClr val="tx2"/>
                </a:solidFill>
                <a:latin typeface="Arial" charset="0"/>
                <a:cs typeface="Arial" charset="0"/>
              </a:rPr>
              <a:t>наделяют органы государственной власти субъектов федерации и органы местного самоуправления  полномочием   </a:t>
            </a:r>
          </a:p>
          <a:p>
            <a:pPr>
              <a:spcAft>
                <a:spcPts val="450"/>
              </a:spcAft>
            </a:pPr>
            <a:r>
              <a:rPr lang="ru-RU" altLang="ru-RU" sz="1000" i="1">
                <a:solidFill>
                  <a:srgbClr val="002060"/>
                </a:solidFill>
                <a:latin typeface="Arial" charset="0"/>
                <a:cs typeface="Arial" charset="0"/>
              </a:rPr>
              <a:t>    </a:t>
            </a:r>
            <a:r>
              <a:rPr lang="ru-RU" altLang="ru-RU" sz="900" b="1" i="1">
                <a:solidFill>
                  <a:srgbClr val="002060"/>
                </a:solidFill>
                <a:latin typeface="Arial" charset="0"/>
                <a:cs typeface="Arial" charset="0"/>
              </a:rPr>
              <a:t>организация предоставления дополнительного образования детям в государственных (муниципальных) образовательных организациях</a:t>
            </a:r>
            <a:endParaRPr lang="ru-RU" altLang="ru-RU" sz="1000" b="1" i="1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pic>
        <p:nvPicPr>
          <p:cNvPr id="24580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69" y="4011910"/>
            <a:ext cx="659606" cy="951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1" name="Прямоугольник 7"/>
          <p:cNvSpPr>
            <a:spLocks noChangeArrowheads="1"/>
          </p:cNvSpPr>
          <p:nvPr/>
        </p:nvSpPr>
        <p:spPr bwMode="auto">
          <a:xfrm>
            <a:off x="1169194" y="622697"/>
            <a:ext cx="4482704" cy="946547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8580" tIns="34290" rIns="68580" bIns="34290">
            <a:spAutoFit/>
          </a:bodyPr>
          <a:lstStyle/>
          <a:p>
            <a:r>
              <a:rPr lang="ru-RU" altLang="ru-RU" sz="1100" u="sng">
                <a:solidFill>
                  <a:schemeClr val="tx2"/>
                </a:solidFill>
                <a:latin typeface="Arial" charset="0"/>
                <a:cs typeface="Arial" charset="0"/>
              </a:rPr>
              <a:t>Конституция Российской Федерации, </a:t>
            </a:r>
            <a:r>
              <a:rPr lang="ru-RU" altLang="ru-RU" sz="1100" u="sng">
                <a:latin typeface="Arial" charset="0"/>
              </a:rPr>
              <a:t>с</a:t>
            </a:r>
            <a:r>
              <a:rPr lang="ru-RU" altLang="ru-RU" sz="1100" u="sng">
                <a:latin typeface="Arial" charset="0"/>
                <a:cs typeface="Times New Roman" pitchFamily="18" charset="0"/>
              </a:rPr>
              <a:t>татья 43 </a:t>
            </a:r>
          </a:p>
          <a:p>
            <a:pPr algn="just"/>
            <a:r>
              <a:rPr lang="ru-RU" altLang="ru-RU" sz="900" i="1">
                <a:latin typeface="Arial" charset="0"/>
                <a:cs typeface="Times New Roman" pitchFamily="18" charset="0"/>
              </a:rPr>
              <a:t>1. Каждый имеет право на образование.</a:t>
            </a:r>
          </a:p>
          <a:p>
            <a:pPr algn="just"/>
            <a:r>
              <a:rPr lang="ru-RU" altLang="ru-RU" sz="900" i="1">
                <a:latin typeface="Arial" charset="0"/>
                <a:cs typeface="Times New Roman" pitchFamily="18" charset="0"/>
              </a:rPr>
              <a:t>2. Гарантируются общедоступность и бесплатность дошкольного, основного общего и среднего профессионального образования в государственных или муниципальных образовательных учреждениях и на предприятиях.</a:t>
            </a:r>
          </a:p>
        </p:txBody>
      </p:sp>
      <p:pic>
        <p:nvPicPr>
          <p:cNvPr id="24582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69" y="627460"/>
            <a:ext cx="619125" cy="91916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583" name="Прямоугольник 9"/>
          <p:cNvSpPr>
            <a:spLocks noChangeArrowheads="1"/>
          </p:cNvSpPr>
          <p:nvPr/>
        </p:nvSpPr>
        <p:spPr bwMode="auto">
          <a:xfrm>
            <a:off x="197644" y="51470"/>
            <a:ext cx="5400675" cy="582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/>
          <a:p>
            <a:pPr algn="ctr">
              <a:lnSpc>
                <a:spcPts val="2000"/>
              </a:lnSpc>
            </a:pPr>
            <a:r>
              <a:rPr lang="ru-RU" altLang="ru-RU" sz="2000" b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Анализ правовых основ        дополнительного </a:t>
            </a:r>
            <a:r>
              <a:rPr lang="ru-RU" altLang="ru-RU" sz="2000" b="1" dirty="0">
                <a:solidFill>
                  <a:srgbClr val="C00000"/>
                </a:solidFill>
                <a:latin typeface="Arial" charset="0"/>
                <a:cs typeface="Arial" charset="0"/>
              </a:rPr>
              <a:t>образования детей     </a:t>
            </a:r>
          </a:p>
        </p:txBody>
      </p:sp>
      <p:pic>
        <p:nvPicPr>
          <p:cNvPr id="24584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998" y="1633538"/>
            <a:ext cx="663178" cy="917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5" name="Прямоугольник 11"/>
          <p:cNvSpPr>
            <a:spLocks noChangeArrowheads="1"/>
          </p:cNvSpPr>
          <p:nvPr/>
        </p:nvSpPr>
        <p:spPr bwMode="auto">
          <a:xfrm>
            <a:off x="359569" y="2625329"/>
            <a:ext cx="5292329" cy="1361911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8580" tIns="34290" rIns="68580" bIns="34290">
            <a:spAutoFit/>
          </a:bodyPr>
          <a:lstStyle/>
          <a:p>
            <a:r>
              <a:rPr lang="ru-RU" altLang="ru-RU" sz="1100" u="sng">
                <a:solidFill>
                  <a:schemeClr val="tx2"/>
                </a:solidFill>
                <a:latin typeface="Arial" charset="0"/>
                <a:cs typeface="Arial" charset="0"/>
                <a:hlinkClick r:id="rId6"/>
              </a:rPr>
              <a:t>Приказ Минобрнауки России от 29.08.2013 N1008 </a:t>
            </a:r>
            <a:r>
              <a:rPr lang="ru-RU" altLang="ru-RU" sz="1100" u="sng">
                <a:solidFill>
                  <a:schemeClr val="tx2"/>
                </a:solidFill>
                <a:latin typeface="Arial" charset="0"/>
                <a:cs typeface="Arial" charset="0"/>
              </a:rPr>
              <a:t>и Приказ Минпросвещения России от 09.11.2018 № 196 </a:t>
            </a:r>
            <a:r>
              <a:rPr lang="ru-RU" altLang="ru-RU" sz="1100" u="sng">
                <a:solidFill>
                  <a:schemeClr val="tx2"/>
                </a:solidFill>
                <a:latin typeface="Arial" charset="0"/>
                <a:cs typeface="Arial" charset="0"/>
                <a:hlinkClick r:id="rId6"/>
              </a:rPr>
              <a:t>"Об утверждении Порядка организации и осуществления образовательной деятельности по дополнительным общеобразовательным программам»                         </a:t>
            </a:r>
          </a:p>
          <a:p>
            <a:r>
              <a:rPr lang="ru-RU" altLang="ru-RU" sz="1300" b="1">
                <a:latin typeface="Calibri Light" pitchFamily="34" charset="0"/>
              </a:rPr>
              <a:t>  </a:t>
            </a:r>
            <a:r>
              <a:rPr lang="ru-RU" altLang="ru-RU" sz="900" i="1">
                <a:solidFill>
                  <a:srgbClr val="002060"/>
                </a:solidFill>
                <a:latin typeface="Arial" charset="0"/>
                <a:cs typeface="Arial" charset="0"/>
              </a:rPr>
              <a:t>9. Занятия в объединениях могут проводиться по дополнительным общеобразовательным программам различной </a:t>
            </a:r>
            <a:r>
              <a:rPr lang="ru-RU" altLang="ru-RU" sz="900" b="1" i="1">
                <a:solidFill>
                  <a:srgbClr val="002060"/>
                </a:solidFill>
                <a:latin typeface="Arial" charset="0"/>
                <a:cs typeface="Arial" charset="0"/>
              </a:rPr>
              <a:t>направленности </a:t>
            </a:r>
            <a:r>
              <a:rPr lang="ru-RU" altLang="ru-RU" sz="900" i="1">
                <a:solidFill>
                  <a:srgbClr val="002060"/>
                </a:solidFill>
                <a:latin typeface="Arial" charset="0"/>
                <a:cs typeface="Arial" charset="0"/>
              </a:rPr>
              <a:t>(технической, естественнонаучной, физкультурно-спортивной, художественной, туристско-краеведческой, социально-педагогической).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685496"/>
              </p:ext>
            </p:extLst>
          </p:nvPr>
        </p:nvGraphicFramePr>
        <p:xfrm>
          <a:off x="5796136" y="51470"/>
          <a:ext cx="3158728" cy="488987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58728">
                  <a:extLst>
                    <a:ext uri="{9D8B030D-6E8A-4147-A177-3AD203B41FA5}"/>
                  </a:extLst>
                </a:gridCol>
              </a:tblGrid>
              <a:tr h="775072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800"/>
                        </a:spcAft>
                      </a:pPr>
                      <a:r>
                        <a:rPr lang="ru-RU" sz="1400" b="0" kern="1200" dirty="0" smtClean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блемы                                дальневосточных систем дополнительного образования детей  </a:t>
                      </a:r>
                      <a:endParaRPr lang="ru-RU" sz="1400" b="0" kern="1200" dirty="0">
                        <a:solidFill>
                          <a:schemeClr val="lt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448" marR="5144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/>
                </a:extLst>
              </a:tr>
              <a:tr h="896628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60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в законодательстве государственных гарантий на общедоступное и бесплатное дополнительное образование детей  равноценно отсутствию  правовых оснований и обязанности органов власти  планировать  средства в бюджетах на </a:t>
                      </a:r>
                      <a:r>
                        <a:rPr lang="ru-RU" sz="11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побразование</a:t>
                      </a: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ru-RU" sz="11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448" marR="5144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18573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 Все системы </a:t>
                      </a:r>
                      <a:r>
                        <a:rPr lang="ru-RU" sz="1200" b="0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образования</a:t>
                      </a:r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детей построены в соответствии с направленностями программ, которые определены Приказами </a:t>
                      </a:r>
                      <a:r>
                        <a:rPr lang="ru-RU" sz="1200" b="0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обрнауки</a:t>
                      </a:r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России от 29.08.2013 г. № 1008 и </a:t>
                      </a:r>
                      <a:r>
                        <a:rPr lang="ru-RU" sz="1200" b="0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просвещения</a:t>
                      </a:r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России от 09.11.2018 № 196  (техническая, естественнонаучная, физкультурно-спортивная, художественная, туристско-краеведческая, социально - педагогическая), тогда как они не обеспечивают  адаптацию к жизни в обществе и профориентацию детей, как того требует п.1. ст. 75 федерального закона 273-ФЗ «Об образовании в РФ»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48" marR="5144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10001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Указания в  полномочиях органов власти на организацию </a:t>
                      </a:r>
                      <a:r>
                        <a:rPr lang="ru-RU" sz="1200" b="0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образования</a:t>
                      </a:r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1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государственных (муниципальных) образовательных организациях  </a:t>
                      </a:r>
                      <a:r>
                        <a:rPr lang="ru-RU" sz="1200" b="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пятствует развитию конкуренции и не позволяет негосударственным поставщикам оказывать бюджетные  услуги </a:t>
                      </a:r>
                      <a:r>
                        <a:rPr lang="ru-RU" sz="1200" b="0" kern="120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образования</a:t>
                      </a:r>
                      <a:endParaRPr lang="ru-RU" sz="1200" b="0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48" marR="5144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cxnSp>
        <p:nvCxnSpPr>
          <p:cNvPr id="6" name="Прямая со стрелкой 5"/>
          <p:cNvCxnSpPr/>
          <p:nvPr/>
        </p:nvCxnSpPr>
        <p:spPr>
          <a:xfrm>
            <a:off x="5057775" y="1113235"/>
            <a:ext cx="864394" cy="52030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V="1">
            <a:off x="4976813" y="4083844"/>
            <a:ext cx="945356" cy="33575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 flipV="1">
            <a:off x="4950619" y="2911079"/>
            <a:ext cx="971550" cy="332184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4976813" y="1869282"/>
            <a:ext cx="945356" cy="53578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79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5915000" cy="857250"/>
          </a:xfrm>
        </p:spPr>
        <p:txBody>
          <a:bodyPr>
            <a:noAutofit/>
          </a:bodyPr>
          <a:lstStyle/>
          <a:p>
            <a:pPr>
              <a:lnSpc>
                <a:spcPts val="3000"/>
              </a:lnSpc>
            </a:pPr>
            <a:r>
              <a:rPr lang="ru-RU" sz="3200" dirty="0" smtClean="0">
                <a:solidFill>
                  <a:srgbClr val="C00000"/>
                </a:solidFill>
              </a:rPr>
              <a:t>Понятия и базовые установки                                    при разработке практик  </a:t>
            </a:r>
            <a:endParaRPr lang="ru-RU" sz="3200" dirty="0">
              <a:solidFill>
                <a:srgbClr val="C00000"/>
              </a:solidFill>
            </a:endParaRPr>
          </a:p>
        </p:txBody>
      </p:sp>
      <p:pic>
        <p:nvPicPr>
          <p:cNvPr id="9218" name="Picture 2" descr="http://www.severinform.ru/images/clipart/800x600_94397232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2575"/>
            <a:ext cx="2267744" cy="1700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864" y="1409526"/>
            <a:ext cx="8229600" cy="3394472"/>
          </a:xfrm>
        </p:spPr>
        <p:txBody>
          <a:bodyPr>
            <a:normAutofit/>
          </a:bodyPr>
          <a:lstStyle/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ru-RU" sz="2000" dirty="0" smtClean="0"/>
              <a:t>Под</a:t>
            </a:r>
            <a:r>
              <a:rPr lang="ru-RU" sz="2000" dirty="0"/>
              <a:t> </a:t>
            </a:r>
            <a:r>
              <a:rPr lang="ru-RU" sz="2000" b="1" dirty="0">
                <a:solidFill>
                  <a:srgbClr val="C00000"/>
                </a:solidFill>
              </a:rPr>
              <a:t>межсекторным</a:t>
            </a:r>
            <a:r>
              <a:rPr lang="ru-RU" sz="2000" dirty="0">
                <a:solidFill>
                  <a:srgbClr val="C00000"/>
                </a:solidFill>
              </a:rPr>
              <a:t> </a:t>
            </a:r>
            <a:r>
              <a:rPr lang="ru-RU" sz="2000" b="1" dirty="0" smtClean="0">
                <a:solidFill>
                  <a:srgbClr val="C00000"/>
                </a:solidFill>
              </a:rPr>
              <a:t>взаимодействием  </a:t>
            </a:r>
            <a:r>
              <a:rPr lang="ru-RU" sz="2000" dirty="0" smtClean="0"/>
              <a:t>понимаем </a:t>
            </a:r>
            <a:r>
              <a:rPr lang="ru-RU" sz="2000" dirty="0"/>
              <a:t>процесс установления конструктивных партнерских отношений между </a:t>
            </a:r>
            <a:r>
              <a:rPr lang="ru-RU" sz="2000" dirty="0" smtClean="0"/>
              <a:t> властью, бизнесом, некоммерческим сектором и гражданами.  </a:t>
            </a:r>
          </a:p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ru-RU" sz="2000" b="1" dirty="0">
                <a:solidFill>
                  <a:srgbClr val="C00000"/>
                </a:solidFill>
              </a:rPr>
              <a:t>Межсекторное взаимодействие </a:t>
            </a:r>
            <a:r>
              <a:rPr lang="ru-RU" sz="2000" dirty="0" smtClean="0"/>
              <a:t>(МВ) в местном самоуправлении              </a:t>
            </a:r>
            <a:r>
              <a:rPr lang="ru-RU" sz="2000" b="1" dirty="0" smtClean="0">
                <a:solidFill>
                  <a:srgbClr val="C00000"/>
                </a:solidFill>
              </a:rPr>
              <a:t>не самоцель</a:t>
            </a:r>
            <a:r>
              <a:rPr lang="ru-RU" sz="2000" dirty="0" smtClean="0"/>
              <a:t>, а средство повышения эффективности решения вопросов местного значения. </a:t>
            </a:r>
          </a:p>
          <a:p>
            <a:pPr>
              <a:lnSpc>
                <a:spcPts val="2300"/>
              </a:lnSpc>
              <a:spcAft>
                <a:spcPts val="600"/>
              </a:spcAft>
            </a:pPr>
            <a:r>
              <a:rPr lang="ru-RU" sz="2000" dirty="0" smtClean="0"/>
              <a:t> Обязательными участниками в каждой практике  МВ являются </a:t>
            </a:r>
            <a:r>
              <a:rPr lang="ru-RU" sz="2000" b="1" dirty="0">
                <a:solidFill>
                  <a:srgbClr val="C00000"/>
                </a:solidFill>
              </a:rPr>
              <a:t>школьники и (или) студенты</a:t>
            </a:r>
            <a:r>
              <a:rPr lang="ru-RU" sz="2000" dirty="0" smtClean="0"/>
              <a:t>, так как </a:t>
            </a:r>
            <a:r>
              <a:rPr lang="ru-RU" sz="2000" i="1" dirty="0" smtClean="0"/>
              <a:t>«Сегодня – дети,  завтра - народ» (</a:t>
            </a:r>
            <a:r>
              <a:rPr lang="ru-RU" sz="2000" i="1" dirty="0" err="1" smtClean="0"/>
              <a:t>С.Михалков</a:t>
            </a:r>
            <a:r>
              <a:rPr lang="ru-RU" sz="2000" i="1" dirty="0" smtClean="0"/>
              <a:t>)    </a:t>
            </a:r>
            <a:endParaRPr lang="ru-RU" sz="2000" i="1" dirty="0"/>
          </a:p>
        </p:txBody>
      </p:sp>
    </p:spTree>
    <p:extLst>
      <p:ext uri="{BB962C8B-B14F-4D97-AF65-F5344CB8AC3E}">
        <p14:creationId xmlns:p14="http://schemas.microsoft.com/office/powerpoint/2010/main" val="1430594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09812"/>
              </p:ext>
            </p:extLst>
          </p:nvPr>
        </p:nvGraphicFramePr>
        <p:xfrm>
          <a:off x="359569" y="715365"/>
          <a:ext cx="4050507" cy="25764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46331">
                  <a:extLst>
                    <a:ext uri="{9D8B030D-6E8A-4147-A177-3AD203B41FA5}"/>
                  </a:extLst>
                </a:gridCol>
                <a:gridCol w="702088">
                  <a:extLst>
                    <a:ext uri="{9D8B030D-6E8A-4147-A177-3AD203B41FA5}"/>
                  </a:extLst>
                </a:gridCol>
                <a:gridCol w="702088">
                  <a:extLst>
                    <a:ext uri="{9D8B030D-6E8A-4147-A177-3AD203B41FA5}"/>
                  </a:extLst>
                </a:gridCol>
              </a:tblGrid>
              <a:tr h="391438"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ограммы  дополнительного образования Хабаровска </a:t>
                      </a:r>
                      <a:endParaRPr lang="ru-RU" sz="1200" b="1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8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41461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 программ -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0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правленность программ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от  общего числа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сто в рейтинге 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1862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200"/>
                        </a:spcAft>
                        <a:tabLst>
                          <a:tab pos="666750" algn="l"/>
                        </a:tabLs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Техническая 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43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  <a:tabLst>
                          <a:tab pos="666750" algn="l"/>
                        </a:tabLst>
                      </a:pPr>
                      <a:r>
                        <a:rPr lang="ru-RU" sz="1100" b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8%</a:t>
                      </a:r>
                      <a:endParaRPr lang="ru-RU" sz="1200" b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  <a:tabLst>
                          <a:tab pos="666750" algn="l"/>
                        </a:tabLs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1862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стественно-научная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%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1862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</a:t>
                      </a:r>
                      <a:r>
                        <a:rPr lang="ru-RU" sz="1100" b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зкультурно-спортивная  - 21</a:t>
                      </a:r>
                      <a:endParaRPr lang="ru-RU" sz="1200" b="0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4%</a:t>
                      </a:r>
                      <a:endParaRPr lang="ru-RU" sz="1200" b="0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1862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</a:t>
                      </a:r>
                      <a:r>
                        <a:rPr lang="ru-RU" sz="1100" b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удожественная - 207</a:t>
                      </a:r>
                      <a:endParaRPr lang="ru-RU" sz="1200" b="0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%</a:t>
                      </a:r>
                      <a:endParaRPr lang="ru-RU" sz="1200" b="0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18623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истско-краеведческая  - 20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1%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342948"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о-педагогическая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30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(подготовка к школе) 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7%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8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38205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ые программы 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9%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200"/>
                        </a:spcAft>
                      </a:pP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6" marR="5143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25642" name="Прямоугольник 1"/>
          <p:cNvSpPr>
            <a:spLocks noChangeArrowheads="1"/>
          </p:cNvSpPr>
          <p:nvPr/>
        </p:nvSpPr>
        <p:spPr bwMode="auto">
          <a:xfrm>
            <a:off x="197644" y="186928"/>
            <a:ext cx="8695135" cy="346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/>
          <a:p>
            <a:pPr algn="ctr"/>
            <a:r>
              <a:rPr lang="ru-RU" altLang="ru-RU">
                <a:latin typeface="Arial" charset="0"/>
                <a:cs typeface="Arial" charset="0"/>
              </a:rPr>
              <a:t>Система дополнительного образования детей в Хабаровске   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5966796"/>
              </p:ext>
            </p:extLst>
          </p:nvPr>
        </p:nvGraphicFramePr>
        <p:xfrm>
          <a:off x="4618435" y="819150"/>
          <a:ext cx="4173140" cy="2520157"/>
        </p:xfrm>
        <a:graphic>
          <a:graphicData uri="http://schemas.openxmlformats.org/drawingml/2006/table">
            <a:tbl>
              <a:tblPr/>
              <a:tblGrid>
                <a:gridCol w="2831306">
                  <a:extLst>
                    <a:ext uri="{9D8B030D-6E8A-4147-A177-3AD203B41FA5}"/>
                  </a:extLst>
                </a:gridCol>
                <a:gridCol w="831056">
                  <a:extLst>
                    <a:ext uri="{9D8B030D-6E8A-4147-A177-3AD203B41FA5}"/>
                  </a:extLst>
                </a:gridCol>
                <a:gridCol w="510778">
                  <a:extLst>
                    <a:ext uri="{9D8B030D-6E8A-4147-A177-3AD203B41FA5}"/>
                  </a:extLst>
                </a:gridCol>
              </a:tblGrid>
              <a:tr h="19407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Виды экономической деятельности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Кол-во чел.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3714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263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Торговля оптовая и розничная торговля; ремонт автотранспортных средств и мотоциклов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2053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19407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263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Обрабатывающие производства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6132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37504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263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Государственное управление  и обеспечение военной безопасности; социальное обеспечение</a:t>
                      </a:r>
                      <a:endParaRPr kumimoji="0" lang="ru-RU" alt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6610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19407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263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Образование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2245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,2%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19407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263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Транспортировка и хранение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9216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,6%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2286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263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Строительство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7345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,2%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11715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263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….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…</a:t>
                      </a:r>
                      <a:endParaRPr kumimoji="0" lang="ru-RU" alt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34528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263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Деятельность в области культуры, спорта, организации досуга и развлечений</a:t>
                      </a:r>
                      <a:endParaRPr kumimoji="0" lang="ru-RU" alt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268</a:t>
                      </a:r>
                      <a:endParaRPr kumimoji="0" lang="ru-RU" alt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,6%</a:t>
                      </a:r>
                      <a:endParaRPr kumimoji="0" lang="ru-RU" alt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25685" name="Rectangle 1"/>
          <p:cNvSpPr>
            <a:spLocks noChangeArrowheads="1"/>
          </p:cNvSpPr>
          <p:nvPr/>
        </p:nvSpPr>
        <p:spPr bwMode="auto">
          <a:xfrm>
            <a:off x="4572000" y="570109"/>
            <a:ext cx="4219575" cy="238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 anchor="ctr">
            <a:spAutoFit/>
          </a:bodyPr>
          <a:lstStyle/>
          <a:p>
            <a:pPr algn="ctr"/>
            <a:r>
              <a:rPr lang="ru-RU" altLang="ru-RU" sz="1100">
                <a:solidFill>
                  <a:srgbClr val="000000"/>
                </a:solidFill>
                <a:latin typeface="Arial" charset="0"/>
                <a:ea typeface="Times New Roman" pitchFamily="18" charset="0"/>
                <a:cs typeface="Arial" charset="0"/>
              </a:rPr>
              <a:t>Структура занятости населения в Хабаровском крае в </a:t>
            </a:r>
            <a:r>
              <a:rPr lang="ru-RU" altLang="ru-RU" sz="1100">
                <a:latin typeface="Arial" charset="0"/>
                <a:ea typeface="Times New Roman" pitchFamily="18" charset="0"/>
                <a:cs typeface="Arial" charset="0"/>
              </a:rPr>
              <a:t>2018г.</a:t>
            </a:r>
            <a:endParaRPr lang="ru-RU" altLang="ru-RU" sz="1200">
              <a:latin typeface="Arial" charset="0"/>
              <a:ea typeface="Times New Roman" pitchFamily="18" charset="0"/>
              <a:cs typeface="Arial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0730144"/>
              </p:ext>
            </p:extLst>
          </p:nvPr>
        </p:nvGraphicFramePr>
        <p:xfrm>
          <a:off x="359569" y="3457705"/>
          <a:ext cx="8432008" cy="14173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9264">
                  <a:extLst>
                    <a:ext uri="{9D8B030D-6E8A-4147-A177-3AD203B41FA5}"/>
                  </a:extLst>
                </a:gridCol>
                <a:gridCol w="3772214">
                  <a:extLst>
                    <a:ext uri="{9D8B030D-6E8A-4147-A177-3AD203B41FA5}"/>
                  </a:extLst>
                </a:gridCol>
                <a:gridCol w="1331369">
                  <a:extLst>
                    <a:ext uri="{9D8B030D-6E8A-4147-A177-3AD203B41FA5}"/>
                  </a:extLst>
                </a:gridCol>
                <a:gridCol w="1217815">
                  <a:extLst>
                    <a:ext uri="{9D8B030D-6E8A-4147-A177-3AD203B41FA5}"/>
                  </a:extLst>
                </a:gridCol>
                <a:gridCol w="1611346">
                  <a:extLst>
                    <a:ext uri="{9D8B030D-6E8A-4147-A177-3AD203B41FA5}"/>
                  </a:extLst>
                </a:gridCol>
              </a:tblGrid>
              <a:tr h="284191">
                <a:tc gridSpan="5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аспределение бюджетных ассигнований по целевым </a:t>
                      </a:r>
                      <a:r>
                        <a:rPr kumimoji="0" lang="ru-RU" altLang="ru-RU" sz="120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татьям расходов бюджета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городского округа "Город Хабаровск" на 2018 год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/>
                </a:extLst>
              </a:tr>
              <a:tr h="175649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N п/п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Наименование показателя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Целевая статья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Вид расходов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</a:rPr>
                        <a:t>Сумма  (руб.)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/>
                </a:extLst>
              </a:tr>
              <a:tr h="328299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3 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Муниципальная программа "Обеспечение качества и доступности образования"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0400000000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6 810 958 232,20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/>
                </a:extLst>
              </a:tr>
              <a:tr h="60860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05" marR="5000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Обеспечение деятельности (оказание услуг) </a:t>
                      </a:r>
                      <a:r>
                        <a:rPr lang="ru-RU" sz="1100" b="1" u="sng" dirty="0">
                          <a:solidFill>
                            <a:schemeClr val="tx1"/>
                          </a:solidFill>
                        </a:rPr>
                        <a:t>подведомственных</a:t>
                      </a: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 организаций по дополнительному образованию </a:t>
                      </a:r>
                    </a:p>
                  </a:txBody>
                  <a:tcPr marL="50005" marR="5000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/>
                        <a:t>0400210120 </a:t>
                      </a:r>
                      <a:endParaRPr lang="ru-RU" sz="1100" dirty="0"/>
                    </a:p>
                  </a:txBody>
                  <a:tcPr marL="50005" marR="5000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/>
                        <a:t> </a:t>
                      </a:r>
                    </a:p>
                  </a:txBody>
                  <a:tcPr marL="50005" marR="5000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rgbClr val="C00000"/>
                          </a:solidFill>
                        </a:rPr>
                        <a:t>409 </a:t>
                      </a:r>
                      <a:r>
                        <a:rPr lang="ru-RU" sz="1100" b="1" dirty="0">
                          <a:solidFill>
                            <a:srgbClr val="C00000"/>
                          </a:solidFill>
                        </a:rPr>
                        <a:t>006 456,60 </a:t>
                      </a:r>
                    </a:p>
                  </a:txBody>
                  <a:tcPr marL="50005" marR="5000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cxnSp>
        <p:nvCxnSpPr>
          <p:cNvPr id="7" name="Прямая со стрелкой 6"/>
          <p:cNvCxnSpPr/>
          <p:nvPr/>
        </p:nvCxnSpPr>
        <p:spPr>
          <a:xfrm>
            <a:off x="3563888" y="2145283"/>
            <a:ext cx="4824536" cy="1002531"/>
          </a:xfrm>
          <a:prstGeom prst="straightConnector1">
            <a:avLst/>
          </a:prstGeom>
          <a:ln w="28575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359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7272"/>
              </p:ext>
            </p:extLst>
          </p:nvPr>
        </p:nvGraphicFramePr>
        <p:xfrm>
          <a:off x="251520" y="681540"/>
          <a:ext cx="8586954" cy="39575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98522">
                  <a:extLst>
                    <a:ext uri="{9D8B030D-6E8A-4147-A177-3AD203B41FA5}">
                      <a16:colId xmlns:a16="http://schemas.microsoft.com/office/drawing/2014/main" xmlns="" val="1918425337"/>
                    </a:ext>
                  </a:extLst>
                </a:gridCol>
                <a:gridCol w="3888432">
                  <a:extLst>
                    <a:ext uri="{9D8B030D-6E8A-4147-A177-3AD203B41FA5}">
                      <a16:colId xmlns:a16="http://schemas.microsoft.com/office/drawing/2014/main" xmlns="" val="4182900310"/>
                    </a:ext>
                  </a:extLst>
                </a:gridCol>
              </a:tblGrid>
              <a:tr h="421247"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блемы</a:t>
                      </a:r>
                      <a:endParaRPr lang="ru-RU" sz="2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ути </a:t>
                      </a:r>
                      <a:r>
                        <a:rPr lang="ru-RU" sz="1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шения проблем</a:t>
                      </a:r>
                      <a:endParaRPr lang="ru-RU" sz="2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06440286"/>
                  </a:ext>
                </a:extLst>
              </a:tr>
              <a:tr h="1371600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дачу о привлечении немуниципальных поставщиков к оказанию муниципальных бюджетных услуг в сфере дополнительного образования решить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возможно,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 в федеральном законе и  в муниципальных правовых актах вопрос местного значения городского округа формулируется </a:t>
                      </a:r>
                      <a:r>
                        <a:rPr lang="ru-RU" sz="1200" b="1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к  </a:t>
                      </a:r>
                      <a:r>
                        <a:rPr lang="ru-RU" sz="1200" b="1" i="1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«организация предоставления дополнительного образования детей в муниципальных образовательных организациях».</a:t>
                      </a: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ru-RU" sz="12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ернуться к старой формулировке вопроса местного значения, а именно </a:t>
                      </a:r>
                      <a:r>
                        <a:rPr lang="ru-RU" sz="1200" b="1" i="1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организация предоставления дополнительного образования детей»</a:t>
                      </a:r>
                      <a:r>
                        <a:rPr lang="ru-RU" sz="12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внести поправки в соответствующие муниципальные нормативные правовые </a:t>
                      </a:r>
                      <a:r>
                        <a:rPr lang="ru-RU" sz="12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ы.  </a:t>
                      </a:r>
                      <a:endParaRPr lang="ru-RU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09466240"/>
                  </a:ext>
                </a:extLst>
              </a:tr>
              <a:tr h="928904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1" i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</a:t>
                      </a:r>
                      <a:r>
                        <a:rPr lang="ru-RU" sz="1200" b="1" i="1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раммы</a:t>
                      </a:r>
                      <a:r>
                        <a:rPr lang="ru-RU" sz="1200" b="1" i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ализуемые в муниципальных  учреждениях дополнительного образования, </a:t>
                      </a:r>
                      <a:r>
                        <a:rPr lang="ru-RU" sz="1200" b="1" i="1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огут обеспечить исполнение статьи 75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едерального закона №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3-ФЗ.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2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ru-RU" sz="12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обходимо </a:t>
                      </a:r>
                      <a:r>
                        <a:rPr lang="ru-RU" sz="1200" b="1" i="1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дернизировать </a:t>
                      </a:r>
                      <a:r>
                        <a:rPr lang="ru-RU" sz="1200" b="1" i="1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му классификацию программ  </a:t>
                      </a:r>
                      <a:r>
                        <a:rPr lang="ru-RU" sz="1200" b="1" i="1" dirty="0" err="1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образования</a:t>
                      </a:r>
                      <a:r>
                        <a:rPr lang="ru-RU" sz="12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 привлечь программы, </a:t>
                      </a:r>
                      <a:r>
                        <a:rPr lang="ru-RU" sz="12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торые разработаны и реализуются  СОНКО за средства муниципальных </a:t>
                      </a:r>
                      <a:r>
                        <a:rPr lang="ru-RU" sz="12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антов.  </a:t>
                      </a:r>
                      <a:endParaRPr lang="ru-RU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97249329"/>
                  </a:ext>
                </a:extLst>
              </a:tr>
              <a:tr h="1235813"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смотря на то, что </a:t>
                      </a:r>
                      <a:r>
                        <a:rPr lang="ru-RU" sz="1200" b="1" i="1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уют государственные и муниципальные гарантии на бесплатные услуги дополнительного образования детям,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местном  бюджете планируются и расходуются значительные средства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азания бесплатных услуг дополнительного образования детям и для этого содержится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фраструктура.      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</a:t>
                      </a:r>
                      <a:r>
                        <a:rPr lang="ru-RU" sz="1200" b="1" i="1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формировать муниципальные гарантии на бесплатные услуги </a:t>
                      </a:r>
                      <a:r>
                        <a:rPr lang="ru-RU" sz="12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олнительного образования детям закрепить их в муниципальных нормативных правовых </a:t>
                      </a:r>
                      <a:r>
                        <a:rPr lang="ru-RU" sz="12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ах. </a:t>
                      </a:r>
                      <a:endParaRPr lang="ru-RU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34589437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519772" y="141480"/>
            <a:ext cx="3618402" cy="3924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21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 анализа </a:t>
            </a:r>
            <a:endParaRPr lang="ru-RU" sz="2100" dirty="0"/>
          </a:p>
        </p:txBody>
      </p:sp>
    </p:spTree>
    <p:extLst>
      <p:ext uri="{BB962C8B-B14F-4D97-AF65-F5344CB8AC3E}">
        <p14:creationId xmlns:p14="http://schemas.microsoft.com/office/powerpoint/2010/main" val="1867456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583574"/>
          </a:xfrm>
        </p:spPr>
        <p:txBody>
          <a:bodyPr>
            <a:noAutofit/>
          </a:bodyPr>
          <a:lstStyle/>
          <a:p>
            <a:r>
              <a:rPr lang="ru-RU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ианты привлечения немуниципальных поставщиков к оказанию муниципальных бюджетных услуг  дополнительного образования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62" y="951570"/>
            <a:ext cx="6510423" cy="3997628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373524" y="1221600"/>
            <a:ext cx="5464950" cy="16132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 lIns="68580" tIns="34290" rIns="68580" bIns="34290">
            <a:spAutoFit/>
          </a:bodyPr>
          <a:lstStyle/>
          <a:p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иант 1 (самый безболезненный)</a:t>
            </a:r>
          </a:p>
          <a:p>
            <a:endParaRPr lang="ru-RU" sz="6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450"/>
              </a:spcAft>
            </a:pP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Но есть вопросы </a:t>
            </a:r>
          </a:p>
          <a:p>
            <a:pPr>
              <a:spcAft>
                <a:spcPts val="450"/>
              </a:spcAft>
            </a:pP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    1) </a:t>
            </a:r>
            <a:r>
              <a:rPr lang="ru-RU" sz="1100" i="1" dirty="0"/>
              <a:t>Может ли муниципальное учреждение </a:t>
            </a:r>
            <a:r>
              <a:rPr lang="ru-RU" sz="1100" i="1" dirty="0" err="1"/>
              <a:t>допобразования</a:t>
            </a:r>
            <a:r>
              <a:rPr lang="ru-RU" sz="1100" i="1" dirty="0"/>
              <a:t> заключать </a:t>
            </a:r>
            <a:r>
              <a:rPr lang="ru-RU" sz="1100" b="1" i="1" u="sng" dirty="0"/>
              <a:t>Договоры возмездного оказание услуг с  ИП и СОНКО </a:t>
            </a:r>
            <a:r>
              <a:rPr lang="ru-RU" sz="1100" i="1" dirty="0"/>
              <a:t>на реализацию программ дополнительного образования на своей территории?</a:t>
            </a:r>
          </a:p>
          <a:p>
            <a:pPr>
              <a:spcAft>
                <a:spcPts val="450"/>
              </a:spcAft>
            </a:pPr>
            <a:r>
              <a:rPr lang="ru-RU" sz="1100" i="1" dirty="0"/>
              <a:t>    2) </a:t>
            </a:r>
            <a:r>
              <a:rPr lang="ru-RU" sz="1100" b="1" i="1" u="sng" dirty="0"/>
              <a:t>Должно ли ИП и СОНКО иметь лицензию </a:t>
            </a:r>
            <a:r>
              <a:rPr lang="ru-RU" sz="1100" i="1" dirty="0"/>
              <a:t>на образовательную деятельность для работы по Договору оказания услуг с  муниципальным учреждением </a:t>
            </a:r>
            <a:r>
              <a:rPr lang="ru-RU" sz="1100" i="1" dirty="0" err="1"/>
              <a:t>допобразования</a:t>
            </a:r>
            <a:r>
              <a:rPr lang="ru-RU" sz="1100" i="1" dirty="0"/>
              <a:t>?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0356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54" y="1113588"/>
            <a:ext cx="4162728" cy="351039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247254" y="291957"/>
            <a:ext cx="416272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иант 2. </a:t>
            </a:r>
            <a:br>
              <a:rPr lang="ru-RU" sz="15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5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ниципальный заказ и конкурс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012" y="1113588"/>
            <a:ext cx="4203665" cy="351039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" name="Прямоугольник 2"/>
          <p:cNvSpPr/>
          <p:nvPr/>
        </p:nvSpPr>
        <p:spPr>
          <a:xfrm>
            <a:off x="4860540" y="249493"/>
            <a:ext cx="3923928" cy="76174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500" dirty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ариант 3 Персонифицированное </a:t>
            </a:r>
            <a:br>
              <a:rPr lang="ru-RU" sz="1500" dirty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1500" dirty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финансирование дополнительного </a:t>
            </a:r>
            <a:br>
              <a:rPr lang="ru-RU" sz="1500" dirty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1500" dirty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бразования детей</a:t>
            </a:r>
          </a:p>
        </p:txBody>
      </p:sp>
    </p:spTree>
    <p:extLst>
      <p:ext uri="{BB962C8B-B14F-4D97-AF65-F5344CB8AC3E}">
        <p14:creationId xmlns:p14="http://schemas.microsoft.com/office/powerpoint/2010/main" val="2426862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655" y="25425"/>
            <a:ext cx="7194745" cy="506660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992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67494"/>
            <a:ext cx="7990856" cy="4494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403648" y="4659982"/>
            <a:ext cx="63367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/>
              <a:t>https://www.youtube.com/watch?v=jW0uKgU7c5k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62050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5363474" y="1645612"/>
            <a:ext cx="3610155" cy="3329673"/>
          </a:xfrm>
          <a:prstGeom prst="rect">
            <a:avLst/>
          </a:prstGeom>
        </p:spPr>
        <p:txBody>
          <a:bodyPr lIns="68580" tIns="34290" rIns="68580" bIns="34290"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20000"/>
              </a:lnSpc>
            </a:pPr>
            <a:r>
              <a:rPr lang="ru-RU" sz="2200" dirty="0"/>
              <a:t>Проект</a:t>
            </a:r>
            <a:r>
              <a:rPr lang="ru-RU" sz="2800" b="1" dirty="0">
                <a:latin typeface="Calibri" panose="020F0502020204030204" pitchFamily="34" charset="0"/>
              </a:rPr>
              <a:t> </a:t>
            </a:r>
            <a:r>
              <a:rPr lang="ru-RU" sz="3000" b="1" dirty="0">
                <a:solidFill>
                  <a:srgbClr val="C00000"/>
                </a:solidFill>
                <a:latin typeface="Calibri" panose="020F0502020204030204" pitchFamily="34" charset="0"/>
              </a:rPr>
              <a:t/>
            </a:r>
            <a:br>
              <a:rPr lang="ru-RU" sz="3000" b="1" dirty="0">
                <a:solidFill>
                  <a:srgbClr val="C00000"/>
                </a:solidFill>
                <a:latin typeface="Calibri" panose="020F0502020204030204" pitchFamily="34" charset="0"/>
              </a:rPr>
            </a:br>
            <a:r>
              <a:rPr lang="ru-RU" sz="3000" dirty="0">
                <a:solidFill>
                  <a:srgbClr val="C00000"/>
                </a:solidFill>
                <a:latin typeface="Calibri" panose="020F0502020204030204" pitchFamily="34" charset="0"/>
              </a:rPr>
              <a:t>«</a:t>
            </a:r>
            <a:r>
              <a:rPr lang="ru-RU" sz="2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УЕМ НАЦИОНАЛЬНЫЕ </a:t>
            </a:r>
          </a:p>
          <a:p>
            <a:pPr algn="r">
              <a:lnSpc>
                <a:spcPct val="120000"/>
              </a:lnSpc>
            </a:pPr>
            <a:r>
              <a:rPr lang="ru-RU" sz="2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 ВМЕСТЕ</a:t>
            </a:r>
            <a:r>
              <a:rPr lang="ru-RU" sz="2400" dirty="0">
                <a:solidFill>
                  <a:srgbClr val="C00000"/>
                </a:solidFill>
                <a:latin typeface="Calibri" panose="020F0502020204030204" pitchFamily="34" charset="0"/>
              </a:rPr>
              <a:t>»</a:t>
            </a:r>
          </a:p>
          <a:p>
            <a:endParaRPr lang="ru-RU" sz="2400" dirty="0">
              <a:solidFill>
                <a:srgbClr val="C00000"/>
              </a:solidFill>
              <a:latin typeface="Calibri" panose="020F0502020204030204" pitchFamily="34" charset="0"/>
            </a:endParaRPr>
          </a:p>
          <a:p>
            <a:endParaRPr lang="ru-RU" sz="2400" dirty="0"/>
          </a:p>
          <a:p>
            <a:endParaRPr lang="ru-RU" sz="2400" dirty="0"/>
          </a:p>
          <a:p>
            <a:pPr algn="r">
              <a:lnSpc>
                <a:spcPct val="120000"/>
              </a:lnSpc>
            </a:pPr>
            <a:r>
              <a:rPr lang="ru-RU" sz="1700" b="1" i="1" dirty="0"/>
              <a:t>Цель проекта -</a:t>
            </a:r>
            <a:r>
              <a:rPr lang="ru-RU" sz="1700" b="1" dirty="0"/>
              <a:t> создание информационных, организационных  и образовательных условий для привлечения  институтов гражданского общества Хабаровска к участию в реализации национальных  и региональных проектов на территории </a:t>
            </a:r>
            <a:r>
              <a:rPr lang="ru-RU" sz="1700" b="1" dirty="0" smtClean="0"/>
              <a:t>Хабаровска</a:t>
            </a:r>
            <a:endParaRPr lang="ru-RU" sz="1700" b="1" dirty="0">
              <a:solidFill>
                <a:srgbClr val="C0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579268" y="264319"/>
            <a:ext cx="3252025" cy="81637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r">
              <a:lnSpc>
                <a:spcPts val="1275"/>
              </a:lnSpc>
            </a:pPr>
            <a:r>
              <a:rPr lang="ru-RU" sz="1100" dirty="0">
                <a:solidFill>
                  <a:srgbClr val="002060"/>
                </a:solidFill>
                <a:latin typeface="+mj-lt"/>
              </a:rPr>
              <a:t>Некоммерческое партнёрство                              «Дальневосточный научный центр                                      местного самоуправления»</a:t>
            </a:r>
          </a:p>
          <a:p>
            <a:pPr>
              <a:lnSpc>
                <a:spcPct val="107000"/>
              </a:lnSpc>
            </a:pPr>
            <a:endParaRPr lang="ru-RU" sz="1500" dirty="0">
              <a:solidFill>
                <a:srgbClr val="002060"/>
              </a:solidFill>
              <a:ea typeface="Calibri" panose="020F0502020204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207794" cy="5124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440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44698" y="1714641"/>
            <a:ext cx="6078682" cy="181331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lnSpc>
                <a:spcPts val="1650"/>
              </a:lnSpc>
            </a:pPr>
            <a:endParaRPr lang="ru-RU" sz="1500" i="1" dirty="0"/>
          </a:p>
          <a:p>
            <a:pPr>
              <a:lnSpc>
                <a:spcPts val="1650"/>
              </a:lnSpc>
            </a:pPr>
            <a:r>
              <a:rPr lang="ru-RU" sz="1200" dirty="0"/>
              <a:t>       «</a:t>
            </a:r>
            <a:r>
              <a:rPr lang="ru-RU" sz="1500" i="1" dirty="0"/>
              <a:t>В том, что цели, которые мы ставим, станут точкой приложения капиталов, кадрового потенциала и деловой активности, делового таланта российских предпринимателей,                          я практически не сомневаюсь"</a:t>
            </a:r>
          </a:p>
          <a:p>
            <a:pPr algn="r">
              <a:lnSpc>
                <a:spcPts val="1650"/>
              </a:lnSpc>
            </a:pPr>
            <a:r>
              <a:rPr lang="ru-RU" i="1" dirty="0" err="1" smtClean="0"/>
              <a:t>В.В.Путин</a:t>
            </a:r>
            <a:r>
              <a:rPr lang="ru-RU" i="1" dirty="0" smtClean="0"/>
              <a:t>, из выступления </a:t>
            </a:r>
            <a:r>
              <a:rPr lang="ru-RU" i="1" dirty="0"/>
              <a:t>на заседании </a:t>
            </a:r>
            <a:r>
              <a:rPr lang="ru-RU" i="1" dirty="0" smtClean="0"/>
              <a:t>съезда                                                                    </a:t>
            </a:r>
            <a:r>
              <a:rPr lang="ru-RU" i="1" dirty="0"/>
              <a:t>Российского союза промышленников и предпринимателей </a:t>
            </a:r>
            <a:r>
              <a:rPr lang="ru-RU" i="1" dirty="0" smtClean="0"/>
              <a:t>,14.03.2019 </a:t>
            </a:r>
            <a:endParaRPr lang="ru-RU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778269" y="3684071"/>
            <a:ext cx="5946197" cy="115929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lnSpc>
                <a:spcPts val="1650"/>
              </a:lnSpc>
            </a:pPr>
            <a:r>
              <a:rPr lang="ru-RU" sz="1500" i="1" dirty="0"/>
              <a:t>«Национальные проекты — это ключевая вещь. Если мы это сделаем, мы получим другие темпы развития, мы получим скачок в экономике, и очень важно их выполнить», </a:t>
            </a:r>
          </a:p>
          <a:p>
            <a:pPr algn="r">
              <a:lnSpc>
                <a:spcPts val="1650"/>
              </a:lnSpc>
            </a:pPr>
            <a:r>
              <a:rPr lang="ru-RU" dirty="0" smtClean="0">
                <a:latin typeface="helveticaneuecyr"/>
                <a:ea typeface="Times New Roman" panose="02020603050405020304" pitchFamily="18" charset="0"/>
                <a:cs typeface="Helvetica" panose="020B0604020202020204" pitchFamily="34" charset="0"/>
              </a:rPr>
              <a:t> </a:t>
            </a:r>
            <a:r>
              <a:rPr lang="ru-RU" i="1" dirty="0"/>
              <a:t>Андрей Костин, президент – председатель правления Банка ВТБ </a:t>
            </a:r>
            <a:r>
              <a:rPr lang="ru-RU" dirty="0">
                <a:latin typeface="helveticaneuecyr"/>
                <a:ea typeface="Times New Roman" panose="02020603050405020304" pitchFamily="18" charset="0"/>
                <a:cs typeface="Helvetica" panose="020B0604020202020204" pitchFamily="34" charset="0"/>
              </a:rPr>
              <a:t> </a:t>
            </a:r>
            <a:endParaRPr lang="ru-RU" sz="2100" dirty="0"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23431" y="339296"/>
            <a:ext cx="5623980" cy="122341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500" i="1" dirty="0"/>
              <a:t>….открытость, прозрачность проектной работы, постоянная обратная связь с гражданами, общественный контроль за всеми ключевыми мероприятиями и программами. Прошу здесь опираться на представителей гражданского общества, в том числе на Общероссийский народный фронт.</a:t>
            </a:r>
            <a:endParaRPr lang="ru-RU" sz="1500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24824" y="3424983"/>
            <a:ext cx="2150438" cy="138554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472" y="434043"/>
            <a:ext cx="2639801" cy="2173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654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650" y="562862"/>
            <a:ext cx="4011119" cy="39789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477110" y="348202"/>
            <a:ext cx="4451231" cy="45858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400" b="1" dirty="0"/>
              <a:t>11.Как государство/ региональные органы власти </a:t>
            </a:r>
            <a:r>
              <a:rPr lang="ru-RU" sz="1400" b="1" dirty="0" smtClean="0"/>
              <a:t>могут заинтересовать </a:t>
            </a:r>
            <a:r>
              <a:rPr lang="ru-RU" sz="1400" b="1" dirty="0"/>
              <a:t>коммерческие компании активнее </a:t>
            </a:r>
            <a:r>
              <a:rPr lang="ru-RU" sz="1400" b="1" dirty="0" smtClean="0"/>
              <a:t>участвовать в </a:t>
            </a:r>
            <a:r>
              <a:rPr lang="ru-RU" sz="1400" b="1" dirty="0"/>
              <a:t>реализации национальных проектов</a:t>
            </a:r>
          </a:p>
          <a:p>
            <a:pPr marL="214313" indent="-214313">
              <a:lnSpc>
                <a:spcPts val="1500"/>
              </a:lnSpc>
              <a:buFont typeface="Arial" pitchFamily="34" charset="0"/>
              <a:buChar char="•"/>
            </a:pPr>
            <a:r>
              <a:rPr lang="ru-RU" sz="1400" dirty="0"/>
              <a:t>Субсидии, гранты </a:t>
            </a:r>
            <a:r>
              <a:rPr lang="ru-RU" sz="1200" b="1" dirty="0">
                <a:solidFill>
                  <a:srgbClr val="C00000"/>
                </a:solidFill>
              </a:rPr>
              <a:t>– 45%</a:t>
            </a:r>
          </a:p>
          <a:p>
            <a:pPr marL="214313" indent="-214313">
              <a:lnSpc>
                <a:spcPts val="1500"/>
              </a:lnSpc>
              <a:buFont typeface="Arial" pitchFamily="34" charset="0"/>
              <a:buChar char="•"/>
            </a:pPr>
            <a:r>
              <a:rPr lang="ru-RU" sz="1400" dirty="0"/>
              <a:t>Открытость процедур </a:t>
            </a:r>
            <a:r>
              <a:rPr lang="ru-RU" sz="1200" b="1" dirty="0">
                <a:solidFill>
                  <a:srgbClr val="C00000"/>
                </a:solidFill>
              </a:rPr>
              <a:t>– 19%</a:t>
            </a:r>
          </a:p>
          <a:p>
            <a:pPr marL="214313" indent="-214313">
              <a:lnSpc>
                <a:spcPts val="1500"/>
              </a:lnSpc>
              <a:buFont typeface="Arial" pitchFamily="34" charset="0"/>
              <a:buChar char="•"/>
            </a:pPr>
            <a:r>
              <a:rPr lang="ru-RU" sz="1400" dirty="0"/>
              <a:t>Четкое законодательное регулирование взаимодействия государства </a:t>
            </a:r>
            <a:r>
              <a:rPr lang="ru-RU" sz="1400" dirty="0" smtClean="0"/>
              <a:t>и частного </a:t>
            </a:r>
            <a:r>
              <a:rPr lang="ru-RU" sz="1400" dirty="0"/>
              <a:t>сектора в части реализации национальных </a:t>
            </a:r>
            <a:r>
              <a:rPr lang="ru-RU" sz="1400" dirty="0" smtClean="0"/>
              <a:t>проектов/ Содействовать </a:t>
            </a:r>
            <a:r>
              <a:rPr lang="ru-RU" sz="1400" dirty="0"/>
              <a:t>в реализации проектов на местах – </a:t>
            </a:r>
            <a:r>
              <a:rPr lang="ru-RU" sz="1200" b="1" dirty="0">
                <a:solidFill>
                  <a:srgbClr val="C00000"/>
                </a:solidFill>
              </a:rPr>
              <a:t>15%</a:t>
            </a:r>
          </a:p>
          <a:p>
            <a:pPr marL="214313" indent="-214313">
              <a:lnSpc>
                <a:spcPts val="1500"/>
              </a:lnSpc>
              <a:buFont typeface="Arial" pitchFamily="34" charset="0"/>
              <a:buChar char="•"/>
            </a:pPr>
            <a:r>
              <a:rPr lang="ru-RU" sz="1400" dirty="0"/>
              <a:t>Больше информации, диалог бизнеса и власти – </a:t>
            </a:r>
            <a:r>
              <a:rPr lang="ru-RU" sz="1200" b="1" dirty="0">
                <a:solidFill>
                  <a:srgbClr val="C00000"/>
                </a:solidFill>
              </a:rPr>
              <a:t>12%</a:t>
            </a:r>
          </a:p>
          <a:p>
            <a:pPr marL="214313" indent="-214313">
              <a:lnSpc>
                <a:spcPts val="1500"/>
              </a:lnSpc>
              <a:buFont typeface="Arial" pitchFamily="34" charset="0"/>
              <a:buChar char="•"/>
            </a:pPr>
            <a:r>
              <a:rPr lang="ru-RU" sz="1400" dirty="0"/>
              <a:t>Системность поддержки – 4%</a:t>
            </a:r>
          </a:p>
          <a:p>
            <a:pPr marL="214313" indent="-214313">
              <a:lnSpc>
                <a:spcPts val="1500"/>
              </a:lnSpc>
              <a:buFont typeface="Arial" pitchFamily="34" charset="0"/>
              <a:buChar char="•"/>
            </a:pPr>
            <a:r>
              <a:rPr lang="ru-RU" sz="1400" dirty="0"/>
              <a:t>Снижение административного барьера /Кратное уменьшение </a:t>
            </a:r>
            <a:r>
              <a:rPr lang="ru-RU" sz="1400" dirty="0" smtClean="0"/>
              <a:t>контрольно- надзорных </a:t>
            </a:r>
            <a:r>
              <a:rPr lang="ru-RU" sz="1400" dirty="0"/>
              <a:t>органов и проверок – 3%</a:t>
            </a:r>
          </a:p>
          <a:p>
            <a:pPr marL="214313" indent="-214313">
              <a:lnSpc>
                <a:spcPts val="1500"/>
              </a:lnSpc>
              <a:buFont typeface="Arial" pitchFamily="34" charset="0"/>
              <a:buChar char="•"/>
            </a:pPr>
            <a:r>
              <a:rPr lang="ru-RU" sz="1400" dirty="0" err="1"/>
              <a:t>Госзакупки</a:t>
            </a:r>
            <a:r>
              <a:rPr lang="ru-RU" sz="1400" dirty="0"/>
              <a:t> и муниципальные торги должны быть ориентированными </a:t>
            </a:r>
            <a:r>
              <a:rPr lang="ru-RU" sz="1400" dirty="0" smtClean="0"/>
              <a:t>на отечественного </a:t>
            </a:r>
            <a:r>
              <a:rPr lang="ru-RU" sz="1400" dirty="0"/>
              <a:t>и регионального/муниципального производителя</a:t>
            </a:r>
            <a:r>
              <a:rPr lang="ru-RU" sz="1400" dirty="0" smtClean="0"/>
              <a:t>/ поставщика </a:t>
            </a:r>
            <a:r>
              <a:rPr lang="ru-RU" sz="1400" dirty="0"/>
              <a:t>услуг -1%</a:t>
            </a:r>
          </a:p>
          <a:p>
            <a:pPr marL="214313" indent="-214313">
              <a:lnSpc>
                <a:spcPts val="1500"/>
              </a:lnSpc>
              <a:buFont typeface="Arial" pitchFamily="34" charset="0"/>
              <a:buChar char="•"/>
            </a:pPr>
            <a:r>
              <a:rPr lang="ru-RU" sz="1400" dirty="0" err="1"/>
              <a:t>Софинансированием</a:t>
            </a:r>
            <a:r>
              <a:rPr lang="ru-RU" sz="1400" dirty="0"/>
              <a:t>/ Предоставлением льгот межведомственными </a:t>
            </a:r>
            <a:r>
              <a:rPr lang="ru-RU" sz="1400" dirty="0" smtClean="0"/>
              <a:t>и межрегиональный </a:t>
            </a:r>
            <a:r>
              <a:rPr lang="ru-RU" sz="1400" dirty="0"/>
              <a:t>соглашениями - 1%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05794" y="78353"/>
            <a:ext cx="1574373" cy="484748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ru-RU" sz="2700" b="1" dirty="0">
                <a:solidFill>
                  <a:srgbClr val="002060"/>
                </a:solidFill>
              </a:rPr>
              <a:t>2020 год  </a:t>
            </a:r>
            <a:endParaRPr lang="ru-RU" sz="27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98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nikolsk.pnzreg.ru/upload/iblock/2fb/2fb9a371dd062ab45a13118502f934bb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51" y="1"/>
            <a:ext cx="2386130" cy="1591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21402" y="254435"/>
            <a:ext cx="5481008" cy="994172"/>
          </a:xfrm>
        </p:spPr>
        <p:txBody>
          <a:bodyPr>
            <a:normAutofit fontScale="90000"/>
          </a:bodyPr>
          <a:lstStyle/>
          <a:p>
            <a:r>
              <a:rPr lang="ru-RU" sz="2000" b="1" dirty="0"/>
              <a:t>Съезд ОКМО «Участие муниципального сообщества в реализации национальных проектов»</a:t>
            </a:r>
            <a:br>
              <a:rPr lang="ru-RU" sz="2000" b="1" dirty="0"/>
            </a:br>
            <a:r>
              <a:rPr lang="ru-RU" sz="1700" dirty="0"/>
              <a:t>Москва 7-8 февраля 2019 года</a:t>
            </a:r>
            <a:endParaRPr lang="ru-RU" sz="27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569774"/>
            <a:ext cx="7886700" cy="2965555"/>
          </a:xfrm>
        </p:spPr>
        <p:txBody>
          <a:bodyPr>
            <a:normAutofit fontScale="62500" lnSpcReduction="20000"/>
          </a:bodyPr>
          <a:lstStyle/>
          <a:p>
            <a:pPr marL="0" indent="0">
              <a:spcAft>
                <a:spcPts val="900"/>
              </a:spcAft>
              <a:buNone/>
            </a:pPr>
            <a:r>
              <a:rPr lang="ru-RU" dirty="0" smtClean="0"/>
              <a:t> 7</a:t>
            </a:r>
            <a:r>
              <a:rPr lang="ru-RU" dirty="0"/>
              <a:t>. Органам местного самоуправления</a:t>
            </a:r>
          </a:p>
          <a:p>
            <a:pPr marL="342900" lvl="1" indent="0">
              <a:spcAft>
                <a:spcPts val="900"/>
              </a:spcAft>
              <a:buNone/>
            </a:pPr>
            <a:r>
              <a:rPr lang="ru-RU" i="1" dirty="0"/>
              <a:t>7.1. С целью эффективной реализации национальных проектов на территориях муниципальных образований:</a:t>
            </a:r>
            <a:endParaRPr lang="ru-RU" dirty="0"/>
          </a:p>
          <a:p>
            <a:pPr marL="685800" lvl="2" indent="0">
              <a:spcAft>
                <a:spcPts val="900"/>
              </a:spcAft>
              <a:buNone/>
            </a:pPr>
            <a:r>
              <a:rPr lang="ru-RU" dirty="0"/>
              <a:t>7.1.3. Предусмотреть возможность участия жителей разных возрастов и социальных категорий в общественном контроле за реализацией национальных проектов. Создать на муниципальном уровне совещательные органы из числа руководителей общественных организаций, ТОС, НКО, сельских старост, возложив на них полномочия по общественной экспертизе нормативно-правовых актов, направленных на реализацию национальных проектов, а также по сбору, анализу, аккумулированию и конкурсному отбору общественных инициатив</a:t>
            </a:r>
            <a:r>
              <a:rPr lang="ru-RU" b="1" dirty="0"/>
              <a:t> </a:t>
            </a:r>
            <a:r>
              <a:rPr lang="ru-RU" dirty="0"/>
              <a:t>по развитию на муниципальном уровне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6616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1405" y="844986"/>
            <a:ext cx="6642209" cy="3166297"/>
          </a:xfrm>
        </p:spPr>
        <p:txBody>
          <a:bodyPr/>
          <a:lstStyle/>
          <a:p>
            <a:pPr marL="0" indent="0" algn="just">
              <a:buNone/>
            </a:pPr>
            <a:r>
              <a:rPr lang="ru-RU" sz="1400" dirty="0"/>
              <a:t>В соответствии с Федеральным законом №131-ФЗ  местное самоуправление … решение </a:t>
            </a:r>
            <a:r>
              <a:rPr lang="ru-RU" sz="1400" dirty="0">
                <a:solidFill>
                  <a:srgbClr val="C00000"/>
                </a:solidFill>
              </a:rPr>
              <a:t>вопросов местного значения населением непосредственно И (или) органами местного самоуправления</a:t>
            </a:r>
            <a:r>
              <a:rPr lang="ru-RU" sz="1500" dirty="0">
                <a:solidFill>
                  <a:srgbClr val="C00000"/>
                </a:solidFill>
              </a:rPr>
              <a:t>. </a:t>
            </a:r>
            <a:r>
              <a:rPr lang="ru-RU" sz="1400" dirty="0"/>
              <a:t>Таким образом</a:t>
            </a:r>
          </a:p>
          <a:p>
            <a:pPr marL="0" indent="0">
              <a:buNone/>
            </a:pPr>
            <a:endParaRPr lang="ru-RU" sz="1500" dirty="0"/>
          </a:p>
          <a:p>
            <a:pPr marL="0" indent="0">
              <a:buNone/>
            </a:pPr>
            <a:endParaRPr lang="ru-RU" sz="1500" dirty="0"/>
          </a:p>
          <a:p>
            <a:pPr marL="0" indent="0">
              <a:buNone/>
            </a:pPr>
            <a:endParaRPr lang="ru-RU" sz="1500" dirty="0"/>
          </a:p>
          <a:p>
            <a:pPr marL="0" indent="0">
              <a:buNone/>
            </a:pPr>
            <a:endParaRPr lang="ru-RU" sz="1500" dirty="0"/>
          </a:p>
          <a:p>
            <a:pPr marL="0" indent="0">
              <a:buNone/>
            </a:pPr>
            <a:r>
              <a:rPr lang="ru-RU" sz="1500" dirty="0"/>
              <a:t> </a:t>
            </a:r>
          </a:p>
          <a:p>
            <a:pPr marL="0" indent="0" algn="just">
              <a:buNone/>
            </a:pPr>
            <a:r>
              <a:rPr lang="ru-RU" sz="100" dirty="0"/>
              <a:t>                  </a:t>
            </a:r>
            <a:r>
              <a:rPr lang="ru-RU" sz="1400" dirty="0"/>
              <a:t>В главе 5  закона 131-ФЗ и иных федеральных законах определено огромное количество форм участия населения в муниципальном управлении. Однако в большинстве своём они остаются «спящими», либо  их использование носит эпизодический, бессистемный характер без привязки к конкретным ВМЗ.</a:t>
            </a:r>
          </a:p>
          <a:p>
            <a:pPr marL="0" indent="0" algn="ctr">
              <a:buNone/>
            </a:pPr>
            <a:endParaRPr lang="ru-RU" sz="700" b="1" dirty="0">
              <a:solidFill>
                <a:srgbClr val="C00000"/>
              </a:solidFill>
            </a:endParaRPr>
          </a:p>
        </p:txBody>
      </p:sp>
      <p:pic>
        <p:nvPicPr>
          <p:cNvPr id="18268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731" y="1630968"/>
            <a:ext cx="4029075" cy="122122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 descr="http://www.char.ru/books/1219535_FZ_Ob_obshchih_principah_organizacii_mestnogo_samoupravleniya_v_RF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8366" y="1009505"/>
            <a:ext cx="1808820" cy="2789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381591" y="4003312"/>
            <a:ext cx="8397404" cy="80791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</a:rPr>
              <a:t>ПРОБЛЕМА:  </a:t>
            </a:r>
            <a:r>
              <a:rPr lang="ru-RU" sz="1500" dirty="0">
                <a:solidFill>
                  <a:srgbClr val="C00000"/>
                </a:solidFill>
              </a:rPr>
              <a:t>огромный интеллектуальный, информационный и организационный потенциал населения не используется для повышения эффективности решения ВМЗ, большинство из которых являются составляющими качества жизни населения</a:t>
            </a:r>
            <a:endParaRPr lang="ru-RU" sz="15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79440" y="261790"/>
            <a:ext cx="8397404" cy="43858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</a:rPr>
              <a:t>МВ - обязательное условие  местного самоуправления</a:t>
            </a:r>
            <a:endParaRPr lang="ru-RU" sz="2100" dirty="0"/>
          </a:p>
        </p:txBody>
      </p:sp>
    </p:spTree>
    <p:extLst>
      <p:ext uri="{BB962C8B-B14F-4D97-AF65-F5344CB8AC3E}">
        <p14:creationId xmlns:p14="http://schemas.microsoft.com/office/powerpoint/2010/main" val="326755530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4072" y="603544"/>
            <a:ext cx="5249009" cy="1216464"/>
          </a:xfrm>
        </p:spPr>
        <p:txBody>
          <a:bodyPr>
            <a:normAutofit fontScale="90000"/>
          </a:bodyPr>
          <a:lstStyle/>
          <a:p>
            <a:r>
              <a:rPr lang="ru-RU" sz="2000" dirty="0"/>
              <a:t>Постановление Администрации Хабаровска от 25.04.2020 №1081 </a:t>
            </a:r>
            <a:r>
              <a:rPr lang="ru-RU" sz="2300" dirty="0"/>
              <a:t/>
            </a:r>
            <a:br>
              <a:rPr lang="ru-RU" sz="2300" dirty="0"/>
            </a:br>
            <a:r>
              <a:rPr lang="ru-RU" sz="2300" dirty="0"/>
              <a:t/>
            </a:r>
            <a:br>
              <a:rPr lang="ru-RU" sz="2300" dirty="0"/>
            </a:br>
            <a:r>
              <a:rPr lang="ru-RU" sz="2300" b="1" dirty="0"/>
              <a:t>«Об  организации проектной деятельности                      в администрации Хабаровска» 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620233" y="2189284"/>
            <a:ext cx="4895117" cy="2443438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Перечень </a:t>
            </a:r>
            <a:r>
              <a:rPr lang="ru-RU" dirty="0"/>
              <a:t>городских проектов для реализации  </a:t>
            </a:r>
            <a:r>
              <a:rPr lang="ru-RU" dirty="0" smtClean="0"/>
              <a:t>в </a:t>
            </a:r>
            <a:r>
              <a:rPr lang="ru-RU" dirty="0"/>
              <a:t>2020 </a:t>
            </a:r>
            <a:r>
              <a:rPr lang="ru-RU" dirty="0" smtClean="0"/>
              <a:t>году</a:t>
            </a:r>
          </a:p>
          <a:p>
            <a:pPr marL="0" indent="0">
              <a:buNone/>
            </a:pPr>
            <a:r>
              <a:rPr lang="ru-RU" dirty="0" smtClean="0"/>
              <a:t> …</a:t>
            </a:r>
          </a:p>
          <a:p>
            <a:pPr marL="0" indent="0">
              <a:buNone/>
            </a:pPr>
            <a:r>
              <a:rPr lang="ru-RU" i="1" dirty="0" smtClean="0"/>
              <a:t>2. Участие </a:t>
            </a:r>
            <a:r>
              <a:rPr lang="ru-RU" i="1" dirty="0"/>
              <a:t>в реализации национальных проектов институтов гражданского </a:t>
            </a:r>
            <a:r>
              <a:rPr lang="ru-RU" i="1" dirty="0" smtClean="0"/>
              <a:t>общества.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…</a:t>
            </a:r>
          </a:p>
        </p:txBody>
      </p:sp>
      <p:pic>
        <p:nvPicPr>
          <p:cNvPr id="2052" name="Picture 4" descr="https://edu.khabarovskadm.ru/bitrix/templates/habtest9/images/gerb_gh_new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030" y="1092575"/>
            <a:ext cx="2822333" cy="2751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396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6827" y="1709291"/>
            <a:ext cx="7886700" cy="2955422"/>
          </a:xfrm>
        </p:spPr>
        <p:txBody>
          <a:bodyPr>
            <a:normAutofit/>
          </a:bodyPr>
          <a:lstStyle/>
          <a:p>
            <a:r>
              <a:rPr lang="ru-RU" sz="2000" b="0" dirty="0">
                <a:solidFill>
                  <a:srgbClr val="C00000"/>
                </a:solidFill>
              </a:rPr>
              <a:t>Задача 1. </a:t>
            </a:r>
            <a:r>
              <a:rPr lang="ru-RU" sz="2000" b="0" dirty="0"/>
              <a:t>Проанализировать национальные проекты и региональные проекты Хабаровского края с целью выявления возможностей для участия граждан, бизнеса и НКО в их реализации на территории Хабаровска.  </a:t>
            </a:r>
            <a:br>
              <a:rPr lang="ru-RU" sz="2000" b="0" dirty="0"/>
            </a:br>
            <a:r>
              <a:rPr lang="ru-RU" sz="2000" b="0" dirty="0"/>
              <a:t/>
            </a:r>
            <a:br>
              <a:rPr lang="ru-RU" sz="2000" b="0" dirty="0"/>
            </a:br>
            <a:r>
              <a:rPr lang="ru-RU" sz="2000" b="0" dirty="0">
                <a:solidFill>
                  <a:srgbClr val="C00000"/>
                </a:solidFill>
              </a:rPr>
              <a:t>Задача 2. </a:t>
            </a:r>
            <a:r>
              <a:rPr lang="ru-RU" sz="2000" b="0" dirty="0"/>
              <a:t>Разработать пакет информационных материалов с задачами национальных и региональных проектов,  в  реализации которых  целесообразно участвовать институтам гражданского общества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71500" y="387008"/>
            <a:ext cx="8236744" cy="56784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2100" dirty="0"/>
              <a:t>Проект</a:t>
            </a:r>
            <a:r>
              <a:rPr lang="ru-RU" sz="2700" b="1" dirty="0">
                <a:latin typeface="Calibri" panose="020F0502020204030204" pitchFamily="34" charset="0"/>
              </a:rPr>
              <a:t> </a:t>
            </a:r>
            <a:r>
              <a:rPr lang="ru-RU" sz="2700" b="1" dirty="0">
                <a:solidFill>
                  <a:srgbClr val="002060"/>
                </a:solidFill>
                <a:latin typeface="Calibri" panose="020F0502020204030204" pitchFamily="34" charset="0"/>
              </a:rPr>
              <a:t>«</a:t>
            </a:r>
            <a:r>
              <a:rPr lang="ru-R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УЕМ НАЦИОНАЛЬНЫЕ ПРОЕКТЫ ВМЕСТЕ</a:t>
            </a:r>
            <a:r>
              <a:rPr lang="ru-RU" sz="2100" b="1" dirty="0">
                <a:solidFill>
                  <a:srgbClr val="002060"/>
                </a:solidFill>
                <a:latin typeface="Calibri" panose="020F0502020204030204" pitchFamily="34" charset="0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292151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3497436159"/>
              </p:ext>
            </p:extLst>
          </p:nvPr>
        </p:nvGraphicFramePr>
        <p:xfrm>
          <a:off x="4687685" y="127002"/>
          <a:ext cx="4114863" cy="4889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923493"/>
              </p:ext>
            </p:extLst>
          </p:nvPr>
        </p:nvGraphicFramePr>
        <p:xfrm>
          <a:off x="380704" y="123478"/>
          <a:ext cx="4040759" cy="48869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9671">
                  <a:extLst>
                    <a:ext uri="{9D8B030D-6E8A-4147-A177-3AD203B41FA5}">
                      <a16:colId xmlns="" xmlns:a16="http://schemas.microsoft.com/office/drawing/2014/main" val="769628363"/>
                    </a:ext>
                  </a:extLst>
                </a:gridCol>
                <a:gridCol w="3651088">
                  <a:extLst>
                    <a:ext uri="{9D8B030D-6E8A-4147-A177-3AD203B41FA5}">
                      <a16:colId xmlns="" xmlns:a16="http://schemas.microsoft.com/office/drawing/2014/main" val="2380018377"/>
                    </a:ext>
                  </a:extLst>
                </a:gridCol>
              </a:tblGrid>
              <a:tr h="670844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 dirty="0">
                          <a:effectLst/>
                        </a:rPr>
                        <a:t>№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 dirty="0">
                          <a:effectLst/>
                        </a:rPr>
                        <a:t>Паспорт национального проекта, </a:t>
                      </a:r>
                      <a:r>
                        <a:rPr lang="ru-RU" sz="1300" kern="1800" dirty="0" smtClean="0">
                          <a:effectLst/>
                        </a:rPr>
                        <a:t>                              программы</a:t>
                      </a:r>
                      <a:r>
                        <a:rPr lang="ru-RU" sz="1300" kern="1800" dirty="0">
                          <a:effectLst/>
                        </a:rPr>
                        <a:t>, плана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="" xmlns:a16="http://schemas.microsoft.com/office/drawing/2014/main" val="208610901"/>
                  </a:ext>
                </a:extLst>
              </a:tr>
              <a:tr h="223616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 dirty="0">
                          <a:effectLst/>
                        </a:rPr>
                        <a:t>1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kern="1800" dirty="0" smtClean="0">
                          <a:effectLst/>
                        </a:rPr>
                        <a:t>Демография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3145355535"/>
                  </a:ext>
                </a:extLst>
              </a:tr>
              <a:tr h="223616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>
                          <a:effectLst/>
                        </a:rPr>
                        <a:t>2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Здравоохранени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312396726"/>
                  </a:ext>
                </a:extLst>
              </a:tr>
              <a:tr h="223616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>
                          <a:effectLst/>
                        </a:rPr>
                        <a:t>3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Образовани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563085368"/>
                  </a:ext>
                </a:extLst>
              </a:tr>
              <a:tr h="223616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>
                          <a:effectLst/>
                        </a:rPr>
                        <a:t>4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kern="1800" dirty="0" smtClean="0">
                          <a:effectLst/>
                        </a:rPr>
                        <a:t>Жилье и</a:t>
                      </a:r>
                      <a:r>
                        <a:rPr lang="ru-RU" sz="1400" kern="1800" baseline="0" dirty="0" smtClean="0">
                          <a:effectLst/>
                        </a:rPr>
                        <a:t> г</a:t>
                      </a:r>
                      <a:r>
                        <a:rPr lang="ru-RU" sz="1400" kern="1800" dirty="0" smtClean="0">
                          <a:effectLst/>
                        </a:rPr>
                        <a:t>ородская среда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717368622"/>
                  </a:ext>
                </a:extLst>
              </a:tr>
              <a:tr h="223616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>
                          <a:effectLst/>
                        </a:rPr>
                        <a:t>5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Экология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3894115523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>
                          <a:effectLst/>
                        </a:rPr>
                        <a:t>6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Безопасные и качественные автомобильные дорог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581704837"/>
                  </a:ext>
                </a:extLst>
              </a:tr>
              <a:tr h="447229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>
                          <a:effectLst/>
                        </a:rPr>
                        <a:t>7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kern="1800" dirty="0" smtClean="0">
                          <a:effectLst/>
                        </a:rPr>
                        <a:t>Производительность труда и поддержка занятост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3928645848"/>
                  </a:ext>
                </a:extLst>
              </a:tr>
              <a:tr h="252775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>
                          <a:effectLst/>
                        </a:rPr>
                        <a:t>8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Цифровая экономика Российской Федераци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1259777796"/>
                  </a:ext>
                </a:extLst>
              </a:tr>
              <a:tr h="223616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>
                          <a:effectLst/>
                        </a:rPr>
                        <a:t>9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kern="1800" dirty="0" smtClean="0">
                          <a:effectLst/>
                        </a:rPr>
                        <a:t>Культура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606712585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>
                          <a:effectLst/>
                        </a:rPr>
                        <a:t>10</a:t>
                      </a:r>
                      <a:endParaRPr lang="ru-RU" sz="13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Малое и среднее предпринимательство и поддержка индивидуальной предпринимательской инициативы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2007722418"/>
                  </a:ext>
                </a:extLst>
              </a:tr>
              <a:tr h="223616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 dirty="0">
                          <a:effectLst/>
                        </a:rPr>
                        <a:t>11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Международная кооперация и экспорт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1224531557"/>
                  </a:ext>
                </a:extLst>
              </a:tr>
              <a:tr h="223616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12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Наука 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/>
                </a:tc>
              </a:tr>
              <a:tr h="626912">
                <a:tc>
                  <a:txBody>
                    <a:bodyPr/>
                    <a:lstStyle/>
                    <a:p>
                      <a:pPr algn="ctr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300" kern="1800" dirty="0" smtClean="0">
                          <a:effectLst/>
                        </a:rPr>
                        <a:t>13</a:t>
                      </a:r>
                      <a:r>
                        <a:rPr lang="ru-RU" sz="1300" kern="1800" dirty="0">
                          <a:effectLst/>
                        </a:rPr>
                        <a:t> </a:t>
                      </a:r>
                      <a:endParaRPr lang="ru-RU" sz="13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Комплексный план модернизации и расширения магистральной инфраструктуры на период до 2024 года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="" xmlns:a16="http://schemas.microsoft.com/office/drawing/2014/main" val="32822626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86462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282288530"/>
              </p:ext>
            </p:extLst>
          </p:nvPr>
        </p:nvGraphicFramePr>
        <p:xfrm>
          <a:off x="258793" y="46196"/>
          <a:ext cx="8501332" cy="50511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36535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8728426"/>
              </p:ext>
            </p:extLst>
          </p:nvPr>
        </p:nvGraphicFramePr>
        <p:xfrm>
          <a:off x="368300" y="361946"/>
          <a:ext cx="8401053" cy="43605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00652">
                  <a:extLst>
                    <a:ext uri="{9D8B030D-6E8A-4147-A177-3AD203B41FA5}">
                      <a16:colId xmlns:a16="http://schemas.microsoft.com/office/drawing/2014/main" xmlns="" val="2501917197"/>
                    </a:ext>
                  </a:extLst>
                </a:gridCol>
                <a:gridCol w="302741">
                  <a:extLst>
                    <a:ext uri="{9D8B030D-6E8A-4147-A177-3AD203B41FA5}">
                      <a16:colId xmlns:a16="http://schemas.microsoft.com/office/drawing/2014/main" xmlns="" val="608189321"/>
                    </a:ext>
                  </a:extLst>
                </a:gridCol>
                <a:gridCol w="4061465">
                  <a:extLst>
                    <a:ext uri="{9D8B030D-6E8A-4147-A177-3AD203B41FA5}">
                      <a16:colId xmlns:a16="http://schemas.microsoft.com/office/drawing/2014/main" xmlns="" val="3262599631"/>
                    </a:ext>
                  </a:extLst>
                </a:gridCol>
                <a:gridCol w="982064">
                  <a:extLst>
                    <a:ext uri="{9D8B030D-6E8A-4147-A177-3AD203B41FA5}">
                      <a16:colId xmlns:a16="http://schemas.microsoft.com/office/drawing/2014/main" xmlns="" val="1037235749"/>
                    </a:ext>
                  </a:extLst>
                </a:gridCol>
                <a:gridCol w="430904">
                  <a:extLst>
                    <a:ext uri="{9D8B030D-6E8A-4147-A177-3AD203B41FA5}">
                      <a16:colId xmlns:a16="http://schemas.microsoft.com/office/drawing/2014/main" xmlns="" val="583770197"/>
                    </a:ext>
                  </a:extLst>
                </a:gridCol>
                <a:gridCol w="430904">
                  <a:extLst>
                    <a:ext uri="{9D8B030D-6E8A-4147-A177-3AD203B41FA5}">
                      <a16:colId xmlns:a16="http://schemas.microsoft.com/office/drawing/2014/main" xmlns="" val="3677474095"/>
                    </a:ext>
                  </a:extLst>
                </a:gridCol>
                <a:gridCol w="430515">
                  <a:extLst>
                    <a:ext uri="{9D8B030D-6E8A-4147-A177-3AD203B41FA5}">
                      <a16:colId xmlns:a16="http://schemas.microsoft.com/office/drawing/2014/main" xmlns="" val="2596766407"/>
                    </a:ext>
                  </a:extLst>
                </a:gridCol>
                <a:gridCol w="430904">
                  <a:extLst>
                    <a:ext uri="{9D8B030D-6E8A-4147-A177-3AD203B41FA5}">
                      <a16:colId xmlns:a16="http://schemas.microsoft.com/office/drawing/2014/main" xmlns="" val="963111108"/>
                    </a:ext>
                  </a:extLst>
                </a:gridCol>
                <a:gridCol w="430904">
                  <a:extLst>
                    <a:ext uri="{9D8B030D-6E8A-4147-A177-3AD203B41FA5}">
                      <a16:colId xmlns:a16="http://schemas.microsoft.com/office/drawing/2014/main" xmlns="" val="2340587999"/>
                    </a:ext>
                  </a:extLst>
                </a:gridCol>
              </a:tblGrid>
              <a:tr h="221369">
                <a:tc rowSpan="10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</a:rPr>
                        <a:t>Задача. 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</a:rPr>
                        <a:t>Внедрение механизма финансовой поддержки семей при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</a:rPr>
                        <a:t>рождении детей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1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мероприятие 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effectLst/>
                        </a:rPr>
                        <a:t>№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Элементы механизма финансовой поддержки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19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20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21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22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23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24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90763909"/>
                  </a:ext>
                </a:extLst>
              </a:tr>
              <a:tr h="274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.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жемесячные выплаты нуждающихся семей в связи с рождением (усыновлением) первого ребенка 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237,7 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6,8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,9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9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3,2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25273676"/>
                  </a:ext>
                </a:extLst>
              </a:tr>
              <a:tr h="274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2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ударственный сертификат на материнский (семейный) капитал семьям, имеющих двух и более детей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0 тыс. 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0 </a:t>
                      </a:r>
                      <a:r>
                        <a:rPr lang="ru-RU" sz="9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 млн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48734026"/>
                  </a:ext>
                </a:extLst>
              </a:tr>
              <a:tr h="274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3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мьи распорядились средствами материнского (семейного) капитал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800 </a:t>
                      </a:r>
                      <a:r>
                        <a:rPr lang="ru-RU" sz="9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0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0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57093997"/>
                  </a:ext>
                </a:extLst>
              </a:tr>
              <a:tr h="3272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4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отечные кредиты (займы) кредитных организаций и АО "ДОМ.РФ" семьям, имеющим двух и более детей, по ставке 6 процентов годовых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тысяч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5 тыс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6000267"/>
                  </a:ext>
                </a:extLst>
              </a:tr>
              <a:tr h="4118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5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жемесячная денежная выплата, назначаемая в случае рождения третьего ребенка или последующих детей до достижения ребенком возраста 3 лет семьям, имеющих трех и более детей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менее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 тысяч 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9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,5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01789494"/>
                  </a:ext>
                </a:extLst>
              </a:tr>
              <a:tr h="3272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тракорпоральное оплодотворение семьям, страдающим бесплодием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менее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 тысяч циклов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61335278"/>
                  </a:ext>
                </a:extLst>
              </a:tr>
              <a:tr h="13729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7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олнительные меры, направленные на поддержку рождаемости на Дальнем Востоке, включающие в том числе оказание поддержки за счет средств федерального бюджета бюджетам субъектов РФ, входящих в состав ДФО, на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повышение размера единовременной выплаты при рождении первого ребенка,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выделение средств семьям при рождении второго ребенка,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осуществление выплат при рождении третьего ребенка или последующих детей, независимо от текущей величины суммарного коэффициента рождаемости в этих регионах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ы 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-зованы</a:t>
                      </a:r>
                      <a:r>
                        <a:rPr lang="ru-RU" sz="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-зованы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-зованы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-зованы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-зованы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88771161"/>
                  </a:ext>
                </a:extLst>
              </a:tr>
              <a:tr h="4380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8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левизионные и радиопрограммы, телевизионные документальные фильмы, Интернет-сайты, направленных на сохранение семейных ценностей, поддержку материнства и детств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2,5 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ллионов просмотров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52988185"/>
                  </a:ext>
                </a:extLst>
              </a:tr>
              <a:tr h="4380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9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ические печатные издания, реализованные проекты, направленные на сохранение семейных ценностей, поддержку материнства и детств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 менее                       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 тысяч экземпляров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50876610"/>
                  </a:ext>
                </a:extLst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266701" y="85422"/>
            <a:ext cx="8648700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ый проект «Демография» </a:t>
            </a:r>
            <a:r>
              <a:rPr lang="ru-RU" alt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й проект 1. </a:t>
            </a:r>
            <a:r>
              <a:rPr lang="ru-RU" alt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ая поддержка семей при рождении детей</a:t>
            </a:r>
            <a:endParaRPr lang="ru-RU" altLang="ru-RU" sz="1500" dirty="0">
              <a:latin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01268" y="4786203"/>
            <a:ext cx="8773767" cy="31290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ts val="1875"/>
              </a:lnSpc>
            </a:pPr>
            <a:r>
              <a:rPr lang="ru-RU" sz="1600" b="1" dirty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Каждое мероприятие имеет потенциал для участия институтов гражданского общества!!!   </a:t>
            </a:r>
            <a:endParaRPr lang="ru-RU" sz="1600" b="1" dirty="0">
              <a:solidFill>
                <a:srgbClr val="C00000"/>
              </a:solidFill>
              <a:latin typeface="+mj-lt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559158"/>
              </p:ext>
            </p:extLst>
          </p:nvPr>
        </p:nvGraphicFramePr>
        <p:xfrm>
          <a:off x="387626" y="348715"/>
          <a:ext cx="8401053" cy="43605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00652">
                  <a:extLst>
                    <a:ext uri="{9D8B030D-6E8A-4147-A177-3AD203B41FA5}">
                      <a16:colId xmlns:a16="http://schemas.microsoft.com/office/drawing/2014/main" xmlns="" val="2501917197"/>
                    </a:ext>
                  </a:extLst>
                </a:gridCol>
                <a:gridCol w="302741">
                  <a:extLst>
                    <a:ext uri="{9D8B030D-6E8A-4147-A177-3AD203B41FA5}">
                      <a16:colId xmlns:a16="http://schemas.microsoft.com/office/drawing/2014/main" xmlns="" val="608189321"/>
                    </a:ext>
                  </a:extLst>
                </a:gridCol>
                <a:gridCol w="4061465">
                  <a:extLst>
                    <a:ext uri="{9D8B030D-6E8A-4147-A177-3AD203B41FA5}">
                      <a16:colId xmlns:a16="http://schemas.microsoft.com/office/drawing/2014/main" xmlns="" val="3262599631"/>
                    </a:ext>
                  </a:extLst>
                </a:gridCol>
                <a:gridCol w="982064">
                  <a:extLst>
                    <a:ext uri="{9D8B030D-6E8A-4147-A177-3AD203B41FA5}">
                      <a16:colId xmlns:a16="http://schemas.microsoft.com/office/drawing/2014/main" xmlns="" val="1037235749"/>
                    </a:ext>
                  </a:extLst>
                </a:gridCol>
                <a:gridCol w="430904">
                  <a:extLst>
                    <a:ext uri="{9D8B030D-6E8A-4147-A177-3AD203B41FA5}">
                      <a16:colId xmlns:a16="http://schemas.microsoft.com/office/drawing/2014/main" xmlns="" val="583770197"/>
                    </a:ext>
                  </a:extLst>
                </a:gridCol>
                <a:gridCol w="430904">
                  <a:extLst>
                    <a:ext uri="{9D8B030D-6E8A-4147-A177-3AD203B41FA5}">
                      <a16:colId xmlns:a16="http://schemas.microsoft.com/office/drawing/2014/main" xmlns="" val="3677474095"/>
                    </a:ext>
                  </a:extLst>
                </a:gridCol>
                <a:gridCol w="430515">
                  <a:extLst>
                    <a:ext uri="{9D8B030D-6E8A-4147-A177-3AD203B41FA5}">
                      <a16:colId xmlns:a16="http://schemas.microsoft.com/office/drawing/2014/main" xmlns="" val="2596766407"/>
                    </a:ext>
                  </a:extLst>
                </a:gridCol>
                <a:gridCol w="430904">
                  <a:extLst>
                    <a:ext uri="{9D8B030D-6E8A-4147-A177-3AD203B41FA5}">
                      <a16:colId xmlns:a16="http://schemas.microsoft.com/office/drawing/2014/main" xmlns="" val="963111108"/>
                    </a:ext>
                  </a:extLst>
                </a:gridCol>
                <a:gridCol w="430904">
                  <a:extLst>
                    <a:ext uri="{9D8B030D-6E8A-4147-A177-3AD203B41FA5}">
                      <a16:colId xmlns:a16="http://schemas.microsoft.com/office/drawing/2014/main" xmlns="" val="2340587999"/>
                    </a:ext>
                  </a:extLst>
                </a:gridCol>
              </a:tblGrid>
              <a:tr h="221369">
                <a:tc rowSpan="10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</a:rPr>
                        <a:t>Задача. </a:t>
                      </a: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</a:rPr>
                        <a:t>Внедрение механизма финансовой поддержки семей при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</a:rPr>
                        <a:t>рождении детей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1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мероприятие 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effectLst/>
                        </a:rPr>
                        <a:t>№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Элементы механизма финансовой поддержки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19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20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21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22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23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chemeClr val="tx1"/>
                          </a:solidFill>
                          <a:effectLst/>
                        </a:rPr>
                        <a:t>в 2024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90763909"/>
                  </a:ext>
                </a:extLst>
              </a:tr>
              <a:tr h="274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.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жемесячные выплаты нуждающихся семей в связи с рождением (усыновлением) первого ребенка 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237,7 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6,8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,9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9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3,2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25273676"/>
                  </a:ext>
                </a:extLst>
              </a:tr>
              <a:tr h="274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2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ударственный сертификат на материнский (семейный) капитал семьям, имеющих двух и более детей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0 тыс. 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0 </a:t>
                      </a:r>
                      <a:r>
                        <a:rPr lang="ru-RU" sz="9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 млн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48734026"/>
                  </a:ext>
                </a:extLst>
              </a:tr>
              <a:tr h="274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3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мьи распорядились средствами материнского (семейного) капитал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800 </a:t>
                      </a:r>
                      <a:r>
                        <a:rPr lang="ru-RU" sz="9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57093997"/>
                  </a:ext>
                </a:extLst>
              </a:tr>
              <a:tr h="3272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4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отечные кредиты (займы) кредитных организаций и АО "ДОМ.РФ" семьям, имеющим двух и более детей, по ставке 6 процентов годовых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тысяч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5 тыс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6000267"/>
                  </a:ext>
                </a:extLst>
              </a:tr>
              <a:tr h="4118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5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жемесячная денежная выплата, назначаемая в случае рождения третьего ребенка или последующих детей до достижения ребенком возраста 3 лет семьям, имеющих трех и более детей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менее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 тысяч 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9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,5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01789494"/>
                  </a:ext>
                </a:extLst>
              </a:tr>
              <a:tr h="3272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тракорпоральное оплодотворение семьям, страдающим бесплодием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менее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 тысяч циклов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2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61335278"/>
                  </a:ext>
                </a:extLst>
              </a:tr>
              <a:tr h="13729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7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олнительные меры, направленные на поддержку рождаемости на Дальнем Востоке, включающие в том числе оказание поддержки за счет средств федерального бюджета бюджетам субъектов РФ, входящих в состав ДФО, на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повышение размера единовременной выплаты при рождении первого ребенка,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выделение средств семьям при рождении второго ребенка, 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осуществление выплат при рождении третьего ребенка или последующих детей, независимо от текущей величины суммарного коэффициента рождаемости в этих регионах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ы 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-зованы</a:t>
                      </a:r>
                      <a:r>
                        <a:rPr lang="ru-RU" sz="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-зованы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-зованы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-зованы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-зованы</a:t>
                      </a:r>
                      <a:endParaRPr lang="ru-RU" sz="8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88771161"/>
                  </a:ext>
                </a:extLst>
              </a:tr>
              <a:tr h="4380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8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левизионные и радиопрограммы, телевизионные документальные фильмы, Интернет-сайты, направленных на сохранение семейных ценностей, поддержку материнства и детств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2,5 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ллионов просмотров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52988185"/>
                  </a:ext>
                </a:extLst>
              </a:tr>
              <a:tr h="4380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9.</a:t>
                      </a:r>
                      <a:endParaRPr lang="ru-RU" sz="12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ические печатные издания, реализованные проекты, направленные на сохранение семейных ценностей, поддержку материнства и детств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</a:t>
                      </a:r>
                      <a:r>
                        <a:rPr lang="ru-RU" sz="9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 менее                       </a:t>
                      </a: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 тысяч экземпляров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</a:t>
                      </a:r>
                      <a:endParaRPr lang="ru-RU" sz="9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6695" marR="3669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508766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1661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701" y="27014"/>
            <a:ext cx="8338771" cy="4704976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01268" y="4659982"/>
            <a:ext cx="8773767" cy="31970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ts val="1875"/>
              </a:lnSpc>
            </a:pPr>
            <a:r>
              <a:rPr lang="ru-RU" sz="2000" b="1" dirty="0" smtClean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Каждой гражданской организации есть задача для участия!!!   </a:t>
            </a:r>
            <a:endParaRPr lang="ru-RU" sz="20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59698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5033096"/>
              </p:ext>
            </p:extLst>
          </p:nvPr>
        </p:nvGraphicFramePr>
        <p:xfrm>
          <a:off x="395536" y="843558"/>
          <a:ext cx="8280919" cy="403244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35114"/>
                <a:gridCol w="1700546"/>
                <a:gridCol w="5545259"/>
              </a:tblGrid>
              <a:tr h="3034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циональный проект</a:t>
                      </a:r>
                      <a:endParaRPr lang="ru-RU" sz="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Федеральный проект</a:t>
                      </a:r>
                      <a:endParaRPr lang="ru-RU" sz="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Задача, мероприятие</a:t>
                      </a:r>
                      <a:endParaRPr lang="ru-RU" sz="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26380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ru-RU" sz="8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ДЕМОГРАФИЯ</a:t>
                      </a:r>
                      <a:endParaRPr lang="ru-RU" sz="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одействие занятости женщин - создание условий дошкольного образования для детей в возрасте до трех лет</a:t>
                      </a:r>
                      <a:endParaRPr lang="ru-RU" sz="10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Задача 2.2. Создание условий для осуществления трудовой деятельности женщин, имеющих детей, включая достижение 100-процентной доступности (2021 год) дошкольного образования для детей в возрасте до трех лет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ероприятие 2.2.1. Создание в субъектах РФ дополнительных мест для детей в возрасте до трех лет в организациях и у </a:t>
                      </a:r>
                      <a:r>
                        <a:rPr lang="ru-RU" sz="1000" u="sng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индивидуальных предпринимателей</a:t>
                      </a: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, осуществляющих образовательную деятельность по образовательным программам дошкольного образования, присмотру и уходу.</a:t>
                      </a:r>
                      <a:endParaRPr lang="ru-RU" sz="10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44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itchFamily="34" charset="0"/>
                          <a:cs typeface="Arial" pitchFamily="34" charset="0"/>
                        </a:rPr>
                        <a:t>Формирование системы мотивации граждан к здоровому образу жизни, включая здоровое питание и отказ от вредных привычек (Укрепление общественного здоровья)</a:t>
                      </a:r>
                      <a:endParaRPr lang="ru-RU" sz="10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Задача 4.1. Формирование системы мотивации граждан к здоровому образу жизни, включая здоровое питание и отказ от вредных привычек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ероприятие 4.1.2. Мотивирование граждан к ведению здорового образа жизни посредством проведения информационно-коммуникационной кампании, а также </a:t>
                      </a:r>
                      <a:r>
                        <a:rPr lang="ru-RU" sz="1000" u="sng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вовлечения граждан и некоммерческих организаций</a:t>
                      </a: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в мероприятиях по укреплению общественного здоровья</a:t>
                      </a:r>
                      <a:endParaRPr lang="ru-RU" sz="10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11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>
                          <a:effectLst/>
                          <a:latin typeface="Arial" pitchFamily="34" charset="0"/>
                          <a:cs typeface="Arial" pitchFamily="34" charset="0"/>
                        </a:rPr>
                        <a:t>ОБРАЗОВАНИЕ</a:t>
                      </a:r>
                      <a:endParaRPr lang="ru-RU" sz="8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>
                          <a:effectLst/>
                          <a:latin typeface="Arial" pitchFamily="34" charset="0"/>
                          <a:cs typeface="Arial" pitchFamily="34" charset="0"/>
                        </a:rPr>
                        <a:t>Социальная активность</a:t>
                      </a:r>
                      <a:endParaRPr lang="ru-RU" sz="10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Задача. Создание условий для развития наставничества, поддержки общественных инициатив и проектов, в том числе в сфере </a:t>
                      </a:r>
                      <a:r>
                        <a:rPr lang="ru-RU" sz="1000" u="sng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добровольчества (</a:t>
                      </a:r>
                      <a:r>
                        <a:rPr lang="ru-RU" sz="1000" u="sng" kern="1200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волонтерства</a:t>
                      </a:r>
                      <a:r>
                        <a:rPr lang="ru-RU" sz="1000" u="sng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lang="ru-RU" sz="10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0147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ЭКОЛОГИЯ</a:t>
                      </a:r>
                      <a:endParaRPr lang="ru-RU" sz="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itchFamily="34" charset="0"/>
                          <a:cs typeface="Arial" pitchFamily="34" charset="0"/>
                        </a:rPr>
                        <a:t>Чистая страна</a:t>
                      </a:r>
                      <a:endParaRPr lang="ru-RU" sz="10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Задача 3. Создание и эффективное функционирование во всех субъектах РФ </a:t>
                      </a:r>
                      <a:r>
                        <a:rPr lang="ru-RU" sz="1000" u="sng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истемы общественного контроля,</a:t>
                      </a: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направленной на выявление и ликвидацию несанкционированных свалок </a:t>
                      </a:r>
                      <a:endParaRPr lang="ru-RU" sz="10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8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itchFamily="34" charset="0"/>
                          <a:cs typeface="Arial" pitchFamily="34" charset="0"/>
                        </a:rPr>
                        <a:t>Сохранение уникальных водных объектов</a:t>
                      </a:r>
                      <a:endParaRPr lang="ru-RU" sz="10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Задача  6. Количество </a:t>
                      </a:r>
                      <a:r>
                        <a:rPr lang="ru-RU" sz="1000" u="sng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селения, вовлеченного в мероприятия по очистке берегов водных объектов</a:t>
                      </a:r>
                      <a:r>
                        <a:rPr lang="ru-RU" sz="10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0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3538" marR="335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539552" y="123478"/>
            <a:ext cx="82089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Calibri Light" pitchFamily="34" charset="0"/>
                <a:cs typeface="Calibri Light" pitchFamily="34" charset="0"/>
              </a:rPr>
              <a:t>Задачи </a:t>
            </a:r>
            <a:r>
              <a:rPr lang="ru-RU" b="1" dirty="0">
                <a:latin typeface="Calibri Light" pitchFamily="34" charset="0"/>
                <a:cs typeface="Calibri Light" pitchFamily="34" charset="0"/>
              </a:rPr>
              <a:t>(мероприятия)  федеральных проектов, названия которых прямо указывают на необходимость участие гражданских организаций</a:t>
            </a:r>
          </a:p>
        </p:txBody>
      </p:sp>
    </p:spTree>
    <p:extLst>
      <p:ext uri="{BB962C8B-B14F-4D97-AF65-F5344CB8AC3E}">
        <p14:creationId xmlns:p14="http://schemas.microsoft.com/office/powerpoint/2010/main" val="35846679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63474" y="239118"/>
            <a:ext cx="8561837" cy="36420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ts val="2250"/>
              </a:lnSpc>
            </a:pPr>
            <a:r>
              <a:rPr lang="ru-RU" sz="3000" b="1" dirty="0">
                <a:solidFill>
                  <a:srgbClr val="C00000"/>
                </a:solidFill>
                <a:latin typeface="+mj-lt"/>
              </a:rPr>
              <a:t>Реализация национальных проектов в регионах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630929848"/>
              </p:ext>
            </p:extLst>
          </p:nvPr>
        </p:nvGraphicFramePr>
        <p:xfrm>
          <a:off x="125318" y="818486"/>
          <a:ext cx="5520560" cy="38009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9581" y="1859914"/>
            <a:ext cx="2925730" cy="243301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645877" y="1241598"/>
            <a:ext cx="3433139" cy="3462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en-US" dirty="0"/>
              <a:t>https://np.khabkrai.ru/Proekty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759125" y="4716319"/>
            <a:ext cx="4766861" cy="197490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lnSpc>
                <a:spcPts val="975"/>
              </a:lnSpc>
            </a:pPr>
            <a:r>
              <a:rPr lang="ru-RU" b="1" dirty="0"/>
              <a:t>региональных проекта  в Хабаровском крае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241234" y="4503490"/>
            <a:ext cx="528029" cy="530915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ru-RU" sz="3000" b="1" dirty="0">
                <a:solidFill>
                  <a:srgbClr val="C00000"/>
                </a:solidFill>
              </a:rPr>
              <a:t>52</a:t>
            </a:r>
            <a:endParaRPr lang="ru-RU" sz="3000" dirty="0"/>
          </a:p>
        </p:txBody>
      </p:sp>
    </p:spTree>
    <p:extLst>
      <p:ext uri="{BB962C8B-B14F-4D97-AF65-F5344CB8AC3E}">
        <p14:creationId xmlns:p14="http://schemas.microsoft.com/office/powerpoint/2010/main" val="173685427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2383848"/>
              </p:ext>
            </p:extLst>
          </p:nvPr>
        </p:nvGraphicFramePr>
        <p:xfrm>
          <a:off x="321469" y="648391"/>
          <a:ext cx="8465344" cy="35795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96300"/>
                <a:gridCol w="5311694"/>
                <a:gridCol w="1657350"/>
              </a:tblGrid>
              <a:tr h="267175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Цели  </a:t>
                      </a:r>
                    </a:p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регионального проекта</a:t>
                      </a:r>
                      <a:endParaRPr lang="ru-RU" sz="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8698" marR="3869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Arial" pitchFamily="34" charset="0"/>
                          <a:cs typeface="Arial" pitchFamily="34" charset="0"/>
                        </a:rPr>
                        <a:t>Задачи и мероприятия</a:t>
                      </a:r>
                      <a:endParaRPr lang="ru-RU" sz="8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8698" marR="38698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Arial" pitchFamily="34" charset="0"/>
                          <a:cs typeface="Arial" pitchFamily="34" charset="0"/>
                        </a:rPr>
                        <a:t>Показатели</a:t>
                      </a:r>
                      <a:endParaRPr lang="ru-RU" sz="8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8698" marR="38698" marT="0" marB="0"/>
                </a:tc>
              </a:tr>
              <a:tr h="3312414">
                <a:tc>
                  <a:txBody>
                    <a:bodyPr/>
                    <a:lstStyle/>
                    <a:p>
                      <a:pPr algn="l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Цель 1. Увеличение суммарного коэффициента рождаемости (до 2,02 детей на 1 женщину в 2024 году) (Хабаровский край).</a:t>
                      </a:r>
                    </a:p>
                    <a:p>
                      <a:pPr algn="l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l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l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l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l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l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l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l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Цель 2. Суммарный коэффициент рождаемости (Хабаровский край).</a:t>
                      </a:r>
                      <a:endParaRPr lang="ru-RU" sz="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8698" marR="38698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endParaRPr lang="ru-RU" sz="1050" b="1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Задача</a:t>
                      </a:r>
                      <a:r>
                        <a:rPr lang="ru-RU" sz="105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: «Внедрение механизма финансовой поддержки семей при рождении детей».</a:t>
                      </a:r>
                    </a:p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100" b="1" kern="1200" dirty="0">
                          <a:solidFill>
                            <a:schemeClr val="dk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роприятия:</a:t>
                      </a:r>
                    </a:p>
                    <a:p>
                      <a:pPr marL="342900" lvl="0" indent="-342900" algn="just">
                        <a:lnSpc>
                          <a:spcPts val="11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емьи с тремя и более детьми получат ежемесячную денежную выплату, назначаемую в случае рождения третьего ребенка или последующих детей до достижения ребенком возраста 3 лет.</a:t>
                      </a:r>
                    </a:p>
                    <a:p>
                      <a:pPr marL="342900" lvl="0" indent="-342900" algn="just">
                        <a:lnSpc>
                          <a:spcPts val="11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уждающиеся семьи получат ежемесячные выплаты в связи с рождением (усыновлением) первого ребенка за счет субвенций из федерального бюджета.</a:t>
                      </a:r>
                    </a:p>
                    <a:p>
                      <a:pPr marL="342900" lvl="0" indent="-342900" algn="just">
                        <a:lnSpc>
                          <a:spcPts val="11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Выполнено установленное количество циклов экстракорпорального оплодотворения, выполненных семьям, страдающим бесплодием, за счет средств базовой программы обязательного медицинского страхования.</a:t>
                      </a:r>
                    </a:p>
                    <a:p>
                      <a:pPr marL="342900" lvl="0" indent="-342900" algn="just">
                        <a:lnSpc>
                          <a:spcPts val="11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В 2019 году реализованы дополнительные меры, направленные на поддержку рождаемости на Дальнем Востоке, включающие оказание поддержки за счет средств федерального бюджета бюджетам субъектов </a:t>
                      </a:r>
                      <a:r>
                        <a:rPr lang="ru-RU" sz="8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РФ, 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входящих в состав </a:t>
                      </a:r>
                      <a:r>
                        <a:rPr lang="ru-RU" sz="8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ДФО, 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 осуществление единовременной выплаты при рождении первого ребенка, а также предоставление регионального материнского (семейного) капитала при рождении второго ребенка.</a:t>
                      </a:r>
                    </a:p>
                    <a:p>
                      <a:pPr marL="342900" lvl="0" indent="-342900" algn="just">
                        <a:lnSpc>
                          <a:spcPts val="11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В субъектах </a:t>
                      </a:r>
                      <a:r>
                        <a:rPr lang="ru-RU" sz="8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РФ, 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входящих в состав </a:t>
                      </a:r>
                      <a:r>
                        <a:rPr lang="ru-RU" sz="8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ДФО 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емьи при рождении первого ребенка получат единовременную выплату, семьям при рождении второго ребенка будет предоставлен региональный материнский (семейный) капитал.</a:t>
                      </a:r>
                    </a:p>
                    <a:p>
                      <a:pPr marL="342900" lvl="0" indent="-342900" algn="just">
                        <a:lnSpc>
                          <a:spcPts val="11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В Хабаровском крае проведена информационно-коммуникационная кампания для всех целевых аудиторий в целях  популяризации мероприятий регионального проекта.</a:t>
                      </a:r>
                    </a:p>
                    <a:p>
                      <a:pPr marL="342900" lvl="0" indent="-342900" algn="just">
                        <a:lnSpc>
                          <a:spcPts val="11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В Хабаровском крае определены дополнительные меры, направленные на поддержку рождаемости, подлежащие </a:t>
                      </a:r>
                      <a:r>
                        <a:rPr lang="ru-RU" sz="800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софинансированию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за счет средств федерального бюджета.</a:t>
                      </a:r>
                      <a:endParaRPr lang="ru-RU" sz="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8698" marR="38698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endParaRPr lang="ru-RU" sz="800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Цель 1:</a:t>
                      </a:r>
                    </a:p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. Коэффициенты 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рождаемости в возрастной группе 25-29 лет (число родившихся на 1000 женщин соответствующего возраста).</a:t>
                      </a:r>
                    </a:p>
                    <a:p>
                      <a:pPr marL="0" lvl="0" indent="0" algn="just">
                        <a:lnSpc>
                          <a:spcPts val="1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8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2. Коэффициенты 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рождаемости в возрастной группе 30-34 лет (число родившихся на 1000 женщин соответствующего возраста).</a:t>
                      </a:r>
                    </a:p>
                    <a:p>
                      <a:pPr marL="0" lvl="0" indent="0" algn="just">
                        <a:lnSpc>
                          <a:spcPts val="1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8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3.</a:t>
                      </a:r>
                      <a:r>
                        <a:rPr lang="ru-RU" sz="800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8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Суммарный 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коэффициент рождаемости.</a:t>
                      </a:r>
                    </a:p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ru-RU" sz="800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Цель </a:t>
                      </a:r>
                      <a:r>
                        <a:rPr lang="ru-RU" sz="8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:</a:t>
                      </a:r>
                    </a:p>
                    <a:p>
                      <a:pPr marL="0" lvl="0" indent="0" algn="just">
                        <a:lnSpc>
                          <a:spcPts val="1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8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. Суммарный 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коэффициент рождаемости вторых детей.</a:t>
                      </a:r>
                    </a:p>
                    <a:p>
                      <a:pPr marL="0" lvl="0" indent="0" algn="just">
                        <a:lnSpc>
                          <a:spcPts val="1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8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2. Суммарный 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коэффициент рождаемости третьих и последующих детей.</a:t>
                      </a:r>
                    </a:p>
                    <a:p>
                      <a:pPr marL="0" lvl="0" indent="0" algn="just">
                        <a:lnSpc>
                          <a:spcPts val="1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8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3. Коэффициент </a:t>
                      </a:r>
                      <a:r>
                        <a:rPr lang="ru-RU" sz="8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рождаемости в возрасте 35-39 лет.</a:t>
                      </a:r>
                      <a:endParaRPr lang="ru-RU" sz="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38698" marR="38698" marT="0" marB="0"/>
                </a:tc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719138" y="4337769"/>
            <a:ext cx="7981950" cy="623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ru-RU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Контактные данные: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 err="1">
                <a:solidFill>
                  <a:srgbClr val="000000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Роша</a:t>
            </a:r>
            <a:r>
              <a:rPr lang="ru-RU" sz="900" dirty="0">
                <a:solidFill>
                  <a:srgbClr val="000000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Ирина Сергеевна - начальник отдела организации и методологии предоставления мер социальной поддержк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0000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Тел</a:t>
            </a:r>
            <a:r>
              <a:rPr lang="en-US" sz="900" dirty="0">
                <a:solidFill>
                  <a:srgbClr val="000000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.: (4212) 30 24 08, E-mail: </a:t>
            </a:r>
            <a:r>
              <a:rPr lang="en-US" sz="900" dirty="0">
                <a:latin typeface="Arial" pitchFamily="34" charset="0"/>
                <a:ea typeface="Times New Roman" pitchFamily="18" charset="0"/>
                <a:cs typeface="Arial" pitchFamily="34" charset="0"/>
                <a:hlinkClick r:id="rId2"/>
              </a:rPr>
              <a:t>i.s.rosha@adm.khv.ru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19138" y="214826"/>
            <a:ext cx="7981950" cy="31547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latin typeface="Arial" pitchFamily="34" charset="0"/>
                <a:ea typeface="Calibri" pitchFamily="34" charset="0"/>
                <a:cs typeface="Arial" pitchFamily="34" charset="0"/>
              </a:rPr>
              <a:t>Региональный проект </a:t>
            </a:r>
            <a:r>
              <a:rPr lang="ru-RU" sz="1600" b="1" dirty="0" smtClean="0">
                <a:ea typeface="Calibri" pitchFamily="34" charset="0"/>
                <a:cs typeface="Arial" pitchFamily="34" charset="0"/>
              </a:rPr>
              <a:t>«</a:t>
            </a:r>
            <a:r>
              <a:rPr lang="ru-RU" sz="1600" b="1" dirty="0">
                <a:latin typeface="Arial" pitchFamily="34" charset="0"/>
                <a:ea typeface="Calibri" pitchFamily="34" charset="0"/>
                <a:cs typeface="Arial" pitchFamily="34" charset="0"/>
              </a:rPr>
              <a:t>Финансовая поддержка семей при рождении детей</a:t>
            </a:r>
            <a:r>
              <a:rPr lang="ru-RU" sz="1600" b="1" dirty="0">
                <a:ea typeface="Calibri" pitchFamily="34" charset="0"/>
                <a:cs typeface="Arial" pitchFamily="34" charset="0"/>
              </a:rPr>
              <a:t>»</a:t>
            </a:r>
            <a:endParaRPr lang="ru-RU" sz="1600" dirty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641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Рисунок 3" descr="C:\Users\1\AppData\Local\Microsoft\Windows\INetCache\Content.Word\Новый рисунок (85)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575"/>
            <a:ext cx="7293569" cy="5081037"/>
          </a:xfrm>
          <a:prstGeom prst="rect">
            <a:avLst/>
          </a:prstGeom>
          <a:noFill/>
          <a:ln w="9525">
            <a:solidFill>
              <a:srgbClr val="4F81B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102500126"/>
              </p:ext>
            </p:extLst>
          </p:nvPr>
        </p:nvGraphicFramePr>
        <p:xfrm>
          <a:off x="7350919" y="954865"/>
          <a:ext cx="1693069" cy="20320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Двойная стрелка вверх/вниз 2"/>
          <p:cNvSpPr/>
          <p:nvPr/>
        </p:nvSpPr>
        <p:spPr>
          <a:xfrm>
            <a:off x="8181024" y="1732145"/>
            <a:ext cx="34289" cy="263541"/>
          </a:xfrm>
          <a:prstGeom prst="upDownArrow">
            <a:avLst/>
          </a:prstGeom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422356" y="3832705"/>
            <a:ext cx="1614488" cy="105413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spcAft>
                <a:spcPts val="225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2000 страниц перевели                  в 70!</a:t>
            </a:r>
            <a:endParaRPr lang="ru-RU" sz="16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9095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465451378"/>
              </p:ext>
            </p:extLst>
          </p:nvPr>
        </p:nvGraphicFramePr>
        <p:xfrm>
          <a:off x="107504" y="139948"/>
          <a:ext cx="8979733" cy="49520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48556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2994544256"/>
              </p:ext>
            </p:extLst>
          </p:nvPr>
        </p:nvGraphicFramePr>
        <p:xfrm>
          <a:off x="271463" y="335757"/>
          <a:ext cx="8715375" cy="4579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537209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1085393"/>
              </p:ext>
            </p:extLst>
          </p:nvPr>
        </p:nvGraphicFramePr>
        <p:xfrm>
          <a:off x="463137" y="1316763"/>
          <a:ext cx="8158348" cy="31271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938148"/>
                <a:gridCol w="6220200"/>
              </a:tblGrid>
              <a:tr h="5257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Цели  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екта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адачи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 мероприятия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01415"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величение доли граждан, ведущих здоровый образ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жизни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sng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адача: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Формирование системы мотивации граждан к здоровому образу жизни, включая здоровое питание и отказ от вредных привычек».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u="sng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ероприятия:</a:t>
                      </a:r>
                      <a:endParaRPr lang="ru-RU" sz="2000" b="1" u="sng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 Хабаровском крае обеспечено внедрение модели организации и функционирования центров общественного здоровья.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ены корпоративные программы, содержащие наилучшие практики по укреплению здоровь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аботников (одна в 2024 году).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униципальные образования Хабаровского края внедрили муниципальные программы общественного здоровья.</a:t>
                      </a:r>
                      <a:endParaRPr lang="ru-RU" sz="20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960835" y="328384"/>
            <a:ext cx="7340018" cy="761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sz="1500" b="1" dirty="0">
                <a:solidFill>
                  <a:srgbClr val="C00000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Региональный проект  Хабаровского края </a:t>
            </a:r>
            <a:endParaRPr lang="ru-RU" sz="8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500" b="1" dirty="0">
                <a:solidFill>
                  <a:srgbClr val="C00000"/>
                </a:solidFill>
                <a:latin typeface="Calibri"/>
                <a:ea typeface="Calibri" pitchFamily="34" charset="0"/>
                <a:cs typeface="Arial" pitchFamily="34" charset="0"/>
              </a:rPr>
              <a:t>«</a:t>
            </a:r>
            <a:r>
              <a:rPr lang="ru-RU" sz="1500" b="1" dirty="0">
                <a:solidFill>
                  <a:srgbClr val="C00000"/>
                </a:solidFill>
                <a:latin typeface="Arial" pitchFamily="34" charset="0"/>
                <a:ea typeface="Calibri" pitchFamily="34" charset="0"/>
                <a:cs typeface="Arial" pitchFamily="34" charset="0"/>
              </a:rPr>
              <a:t>Формирование системы мотивации граждан к здоровому образу жизни, включая здоровое питание и отказ от вредных привычек</a:t>
            </a:r>
            <a:r>
              <a:rPr lang="ru-RU" sz="1500" b="1" dirty="0">
                <a:solidFill>
                  <a:srgbClr val="C00000"/>
                </a:solidFill>
                <a:latin typeface="Calibri"/>
                <a:ea typeface="Calibri" pitchFamily="34" charset="0"/>
                <a:cs typeface="Arial" pitchFamily="34" charset="0"/>
              </a:rPr>
              <a:t>»</a:t>
            </a:r>
            <a:endParaRPr lang="ru-RU" sz="15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863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6667742"/>
              </p:ext>
            </p:extLst>
          </p:nvPr>
        </p:nvGraphicFramePr>
        <p:xfrm>
          <a:off x="365264" y="1564511"/>
          <a:ext cx="8453230" cy="32504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70252">
                  <a:extLst>
                    <a:ext uri="{9D8B030D-6E8A-4147-A177-3AD203B41FA5}">
                      <a16:colId xmlns:a16="http://schemas.microsoft.com/office/drawing/2014/main" xmlns="" val="1427127293"/>
                    </a:ext>
                  </a:extLst>
                </a:gridCol>
                <a:gridCol w="2044956">
                  <a:extLst>
                    <a:ext uri="{9D8B030D-6E8A-4147-A177-3AD203B41FA5}">
                      <a16:colId xmlns:a16="http://schemas.microsoft.com/office/drawing/2014/main" xmlns="" val="74330345"/>
                    </a:ext>
                  </a:extLst>
                </a:gridCol>
                <a:gridCol w="842341">
                  <a:extLst>
                    <a:ext uri="{9D8B030D-6E8A-4147-A177-3AD203B41FA5}">
                      <a16:colId xmlns:a16="http://schemas.microsoft.com/office/drawing/2014/main" xmlns="" val="3107291739"/>
                    </a:ext>
                  </a:extLst>
                </a:gridCol>
                <a:gridCol w="5195681">
                  <a:extLst>
                    <a:ext uri="{9D8B030D-6E8A-4147-A177-3AD203B41FA5}">
                      <a16:colId xmlns:a16="http://schemas.microsoft.com/office/drawing/2014/main" xmlns="" val="1149965708"/>
                    </a:ext>
                  </a:extLst>
                </a:gridCol>
              </a:tblGrid>
              <a:tr h="773909">
                <a:tc>
                  <a:txBody>
                    <a:bodyPr/>
                    <a:lstStyle/>
                    <a:p>
                      <a:pPr marL="108585">
                        <a:spcAft>
                          <a:spcPts val="0"/>
                        </a:spcAft>
                        <a:tabLst>
                          <a:tab pos="18415" algn="l"/>
                        </a:tabLst>
                      </a:pPr>
                      <a:r>
                        <a:rPr lang="ru-RU" sz="1050" dirty="0">
                          <a:solidFill>
                            <a:srgbClr val="002060"/>
                          </a:solidFill>
                          <a:effectLst/>
                        </a:rPr>
                        <a:t>2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28600" algn="ctr">
                        <a:spcAft>
                          <a:spcPts val="0"/>
                        </a:spcAft>
                        <a:tabLst>
                          <a:tab pos="198755" algn="l"/>
                        </a:tabLs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ДАЧА.  Мотивирование </a:t>
                      </a:r>
                      <a:r>
                        <a:rPr lang="ru-RU" sz="105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аждан к ведению здорового образа жизни </a:t>
                      </a:r>
                      <a:r>
                        <a:rPr lang="ru-RU" sz="105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редством проведения </a:t>
                      </a:r>
                      <a:r>
                        <a:rPr lang="ru-RU" sz="105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  информационно-коммуникационной </a:t>
                      </a:r>
                      <a:r>
                        <a:rPr lang="ru-RU" sz="105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мпании, а также вовлечения граждан и некоммерческих </a:t>
                      </a:r>
                      <a:r>
                        <a:rPr lang="ru-RU" sz="105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й                             </a:t>
                      </a:r>
                      <a:r>
                        <a:rPr lang="ru-RU" sz="105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мероприятия </a:t>
                      </a:r>
                      <a:r>
                        <a:rPr lang="ru-RU" sz="105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</a:t>
                      </a:r>
                      <a:r>
                        <a:rPr lang="ru-RU" sz="105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креплению общественного здоровья</a:t>
                      </a:r>
                    </a:p>
                    <a:p>
                      <a:pPr marL="228600" algn="ctr">
                        <a:spcAft>
                          <a:spcPts val="0"/>
                        </a:spcAft>
                        <a:tabLst>
                          <a:tab pos="198755" algn="l"/>
                        </a:tabLst>
                      </a:pPr>
                      <a:r>
                        <a:rPr lang="ru-RU" sz="1050" dirty="0">
                          <a:solidFill>
                            <a:srgbClr val="002060"/>
                          </a:solidFill>
                          <a:effectLst/>
                        </a:rPr>
                        <a:t>Срок из паспорта федерального проекта - 01.01.2019 – 15.12.2024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94198118"/>
                  </a:ext>
                </a:extLst>
              </a:tr>
              <a:tr h="2251214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2060"/>
                          </a:solidFill>
                          <a:effectLst/>
                        </a:rPr>
                        <a:t>2.1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 ежегодный конкурс по отбору проектов на предоставление субсидий некоммерческим организациям, реализующим проекты по формированию приверженности здоровому образу жизни. </a:t>
                      </a:r>
                      <a:endParaRPr lang="ru-RU" sz="105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ru-RU" sz="105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лучшие </a:t>
                      </a:r>
                      <a:r>
                        <a:rPr lang="ru-RU" sz="105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ы размещены на официальном сайте Администрации Приморского края (Департамент здравоохранения)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  <a:tabLst>
                          <a:tab pos="198755" algn="l"/>
                        </a:tabLst>
                      </a:pPr>
                      <a:r>
                        <a:rPr lang="ru-RU" sz="1050" dirty="0">
                          <a:solidFill>
                            <a:srgbClr val="002060"/>
                          </a:solidFill>
                          <a:effectLst/>
                        </a:rPr>
                        <a:t>01.08.2024</a:t>
                      </a:r>
                      <a:endParaRPr lang="ru-RU" sz="105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формирован реестр некоммерческих организаций, реализующих проекты по формированию приверженности населения к здоровому образу </a:t>
                      </a:r>
                      <a:r>
                        <a:rPr lang="ru-RU" sz="1050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изни. </a:t>
                      </a:r>
                      <a:endParaRPr lang="ru-RU" sz="1050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веден конкурс по отбору проектов на предоставление субсидий некоммерческим организациям, реализующим проекты по формированию приверженности здоровому образу жизни, на основании нормативно-правовых документов Правительства РФ и положения о конкурсе, утвержденного приказом МЗ </a:t>
                      </a:r>
                      <a:r>
                        <a:rPr lang="ru-RU" sz="1050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Ф.</a:t>
                      </a:r>
                      <a:endParaRPr lang="ru-RU" sz="1050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екты, ставшие победителями конкурса, размещены на официальном сайте Департамента Здравоохранения Приморского </a:t>
                      </a:r>
                      <a:r>
                        <a:rPr lang="ru-RU" sz="1050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ая.</a:t>
                      </a:r>
                      <a:endParaRPr lang="ru-RU" sz="1050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зработаны рекомендации по наилучшим практикам реализации </a:t>
                      </a:r>
                      <a:r>
                        <a:rPr lang="ru-RU" sz="1050" kern="12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лонтерства</a:t>
                      </a:r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 сфере охраны </a:t>
                      </a:r>
                      <a:r>
                        <a:rPr lang="ru-RU" sz="1050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доровья.</a:t>
                      </a:r>
                      <a:endParaRPr lang="ru-RU" sz="1050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ru-RU" sz="105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дготовлено и направлено в медицинские организации Приморского края рекомендательное письмо о внедрению лучших практик в сфере охраны </a:t>
                      </a:r>
                      <a:r>
                        <a:rPr lang="ru-RU" sz="1050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доровья.</a:t>
                      </a:r>
                      <a:endParaRPr lang="ru-RU" sz="1050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29851985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68357" y="269235"/>
            <a:ext cx="8550136" cy="64633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500" b="1" dirty="0" smtClean="0">
                <a:latin typeface="+mj-lt"/>
                <a:ea typeface="Times New Roman" panose="02020603050405020304" pitchFamily="18" charset="0"/>
              </a:rPr>
              <a:t>ПАСПОРТ </a:t>
            </a:r>
            <a:r>
              <a:rPr lang="ru-RU" sz="1500" b="1" u="sng" dirty="0">
                <a:latin typeface="+mj-lt"/>
                <a:ea typeface="Times New Roman" panose="02020603050405020304" pitchFamily="18" charset="0"/>
              </a:rPr>
              <a:t>регионального проекта</a:t>
            </a:r>
          </a:p>
          <a:p>
            <a:pPr algn="ctr">
              <a:lnSpc>
                <a:spcPts val="1500"/>
              </a:lnSpc>
            </a:pPr>
            <a:r>
              <a:rPr lang="ru-RU" b="1" dirty="0">
                <a:latin typeface="+mj-lt"/>
                <a:ea typeface="Times New Roman" panose="02020603050405020304" pitchFamily="18" charset="0"/>
              </a:rPr>
              <a:t>«Формирование в </a:t>
            </a:r>
            <a:r>
              <a:rPr lang="ru-RU" b="1" u="sng" dirty="0">
                <a:latin typeface="+mj-lt"/>
                <a:ea typeface="Times New Roman" panose="02020603050405020304" pitchFamily="18" charset="0"/>
              </a:rPr>
              <a:t>Приморском крае </a:t>
            </a:r>
            <a:r>
              <a:rPr lang="ru-RU" b="1" dirty="0">
                <a:latin typeface="+mj-lt"/>
                <a:ea typeface="Times New Roman" panose="02020603050405020304" pitchFamily="18" charset="0"/>
              </a:rPr>
              <a:t>системы мотивации граждан к здоровому образу жизни, включая здоровое питание и отказ от вредных привычек»</a:t>
            </a:r>
            <a:endParaRPr lang="ru-RU" sz="1500" b="1" dirty="0">
              <a:latin typeface="+mj-lt"/>
              <a:ea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0728303"/>
              </p:ext>
            </p:extLst>
          </p:nvPr>
        </p:nvGraphicFramePr>
        <p:xfrm>
          <a:off x="365264" y="1125870"/>
          <a:ext cx="8453231" cy="3657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26395">
                  <a:extLst>
                    <a:ext uri="{9D8B030D-6E8A-4147-A177-3AD203B41FA5}">
                      <a16:colId xmlns:a16="http://schemas.microsoft.com/office/drawing/2014/main" xmlns="" val="2717706086"/>
                    </a:ext>
                  </a:extLst>
                </a:gridCol>
                <a:gridCol w="2003723">
                  <a:extLst>
                    <a:ext uri="{9D8B030D-6E8A-4147-A177-3AD203B41FA5}">
                      <a16:colId xmlns:a16="http://schemas.microsoft.com/office/drawing/2014/main" xmlns="" val="3873474226"/>
                    </a:ext>
                  </a:extLst>
                </a:gridCol>
                <a:gridCol w="842342">
                  <a:extLst>
                    <a:ext uri="{9D8B030D-6E8A-4147-A177-3AD203B41FA5}">
                      <a16:colId xmlns:a16="http://schemas.microsoft.com/office/drawing/2014/main" xmlns="" val="518542828"/>
                    </a:ext>
                  </a:extLst>
                </a:gridCol>
                <a:gridCol w="5180771">
                  <a:extLst>
                    <a:ext uri="{9D8B030D-6E8A-4147-A177-3AD203B41FA5}">
                      <a16:colId xmlns:a16="http://schemas.microsoft.com/office/drawing/2014/main" xmlns="" val="873386995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18415">
                        <a:spcAft>
                          <a:spcPts val="0"/>
                        </a:spcAft>
                        <a:tabLst>
                          <a:tab pos="288290" algn="l"/>
                        </a:tabLst>
                      </a:pPr>
                      <a:r>
                        <a:rPr lang="ru-RU" sz="1200" dirty="0">
                          <a:effectLst/>
                        </a:rPr>
                        <a:t>№ п/п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228600" algn="ctr">
                        <a:spcAft>
                          <a:spcPts val="0"/>
                        </a:spcAft>
                        <a:tabLst>
                          <a:tab pos="198755" algn="l"/>
                        </a:tabLst>
                      </a:pPr>
                      <a:r>
                        <a:rPr lang="ru-RU" sz="1200" dirty="0">
                          <a:effectLst/>
                        </a:rPr>
                        <a:t>Наименование задачи, результа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algn="ctr">
                        <a:spcAft>
                          <a:spcPts val="0"/>
                        </a:spcAft>
                        <a:tabLst>
                          <a:tab pos="198755" algn="l"/>
                        </a:tabLst>
                      </a:pPr>
                      <a:r>
                        <a:rPr lang="ru-RU" sz="1200" dirty="0">
                          <a:effectLst/>
                        </a:rPr>
                        <a:t>Срок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228600" algn="ctr">
                        <a:spcAft>
                          <a:spcPts val="0"/>
                        </a:spcAft>
                        <a:tabLst>
                          <a:tab pos="198755" algn="l"/>
                        </a:tabLst>
                      </a:pPr>
                      <a:r>
                        <a:rPr lang="ru-RU" sz="1200" dirty="0">
                          <a:effectLst/>
                        </a:rPr>
                        <a:t>Характеристика результа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xmlns="" val="5251237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788372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50094" y="1023491"/>
            <a:ext cx="7729537" cy="2844403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rgbClr val="C00000"/>
                </a:solidFill>
              </a:rPr>
              <a:t>ПРОБЛЕМА  1. </a:t>
            </a:r>
            <a:r>
              <a:rPr lang="ru-RU" sz="2800" b="1" dirty="0"/>
              <a:t>Не все мероприятия национальных проектов, предполагающие участие гражданских организаций, </a:t>
            </a:r>
            <a:r>
              <a:rPr lang="ru-RU" sz="2800" b="1" dirty="0" smtClean="0"/>
              <a:t>включены в </a:t>
            </a:r>
            <a:r>
              <a:rPr lang="ru-RU" sz="2800" b="1" dirty="0"/>
              <a:t>региональные проекты Хабаровского края    </a:t>
            </a:r>
          </a:p>
        </p:txBody>
      </p:sp>
    </p:spTree>
    <p:extLst>
      <p:ext uri="{BB962C8B-B14F-4D97-AF65-F5344CB8AC3E}">
        <p14:creationId xmlns:p14="http://schemas.microsoft.com/office/powerpoint/2010/main" val="578898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81" y="100013"/>
            <a:ext cx="8415547" cy="49506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59326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97" y="-941"/>
            <a:ext cx="7373350" cy="5144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1966078362"/>
              </p:ext>
            </p:extLst>
          </p:nvPr>
        </p:nvGraphicFramePr>
        <p:xfrm>
          <a:off x="7550944" y="950119"/>
          <a:ext cx="1471613" cy="30718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Двойная стрелка вверх/вниз 1"/>
          <p:cNvSpPr/>
          <p:nvPr/>
        </p:nvSpPr>
        <p:spPr>
          <a:xfrm>
            <a:off x="8272463" y="2850357"/>
            <a:ext cx="34289" cy="321469"/>
          </a:xfrm>
          <a:prstGeom prst="upDownArrow">
            <a:avLst/>
          </a:prstGeom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0525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2944415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rgbClr val="C00000"/>
                </a:solidFill>
              </a:rPr>
              <a:t>ПРОБЛЕМА 2.</a:t>
            </a:r>
            <a:r>
              <a:rPr lang="ru-RU" sz="2000" b="1" dirty="0">
                <a:solidFill>
                  <a:srgbClr val="C00000"/>
                </a:solidFill>
              </a:rPr>
              <a:t> </a:t>
            </a:r>
            <a:r>
              <a:rPr lang="ru-RU" sz="2400" b="1" dirty="0"/>
              <a:t>Не все мероприятия федеральных проектов, которые должны планироваться и осуществляться  органами государственной власти субъектов  федерации,  включены  в региональные проекты Хабаровского края  </a:t>
            </a:r>
          </a:p>
        </p:txBody>
      </p:sp>
    </p:spTree>
    <p:extLst>
      <p:ext uri="{BB962C8B-B14F-4D97-AF65-F5344CB8AC3E}">
        <p14:creationId xmlns:p14="http://schemas.microsoft.com/office/powerpoint/2010/main" val="313097241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477419444"/>
              </p:ext>
            </p:extLst>
          </p:nvPr>
        </p:nvGraphicFramePr>
        <p:xfrm>
          <a:off x="617458" y="110014"/>
          <a:ext cx="7919324" cy="49234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30849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462913"/>
              </p:ext>
            </p:extLst>
          </p:nvPr>
        </p:nvGraphicFramePr>
        <p:xfrm>
          <a:off x="671514" y="674281"/>
          <a:ext cx="7986711" cy="4206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18526"/>
                <a:gridCol w="4522538"/>
                <a:gridCol w="2045647"/>
              </a:tblGrid>
              <a:tr h="4206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Цели  </a:t>
                      </a:r>
                      <a:endParaRPr lang="ru-RU" sz="15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проекта</a:t>
                      </a:r>
                      <a:endParaRPr lang="ru-RU" sz="15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Задачи и мероприятия</a:t>
                      </a:r>
                      <a:endParaRPr lang="ru-RU" sz="15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Показатели</a:t>
                      </a:r>
                      <a:endParaRPr lang="ru-RU" sz="15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/>
                </a:tc>
              </a:tr>
              <a:tr h="3785616"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Увеличение объема жилищного строительства в Хабаровском крае до 0,409 млн. квадратных метров в 2024 </a:t>
                      </a:r>
                      <a:r>
                        <a:rPr lang="ru-RU" sz="9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году</a:t>
                      </a:r>
                      <a:endParaRPr lang="ru-RU" sz="12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Задача: </a:t>
                      </a: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«Модернизация строительной отрасли и повышение качества индустриального жилищного строительства, в том числе посредством установления ограничений на использование устаревших технологий и стимулирования внедрения передовых технологий в проектировании и строительстве, совершенствование механизмов государственной поддержки строительства стандартного жилья».</a:t>
                      </a:r>
                      <a:endParaRPr lang="ru-RU" sz="12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ru-RU" sz="12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ероприятия:</a:t>
                      </a:r>
                      <a:endParaRPr lang="ru-RU" sz="12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Обеспечен ввод жилья в субъектах </a:t>
                      </a:r>
                      <a:r>
                        <a:rPr lang="ru-RU" sz="9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РФ.</a:t>
                      </a:r>
                      <a:endParaRPr lang="ru-RU" sz="12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Реализованы проекты по развитию территорий, расположенных в границах населенных пунктов, предусматривающих строительство жилья, которые включены в государственные программы субъектов </a:t>
                      </a:r>
                      <a:r>
                        <a:rPr lang="ru-RU" sz="900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РФпо</a:t>
                      </a:r>
                      <a:r>
                        <a:rPr lang="ru-RU" sz="9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развитию жилищного строительства.</a:t>
                      </a:r>
                      <a:endParaRPr lang="ru-RU" sz="12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Разработаны мероприятия по стимулированию привлечения специалистов рабочих профессий строительных специальностей в целях сокращения кадрового дефицита в строительной отрасли Хабаровского края.</a:t>
                      </a:r>
                      <a:endParaRPr lang="ru-RU" sz="12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В Хабаровском крае проведена работа по сокращению сроков на получение разрешения на строительство.</a:t>
                      </a:r>
                      <a:endParaRPr lang="ru-RU" sz="12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Актуализированы нормативы градостроительного проектирования Хабаровского края.</a:t>
                      </a:r>
                      <a:endParaRPr lang="ru-RU" sz="12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Предоставлены субсидии бюджетам муниципальных образований Хабаровского края на </a:t>
                      </a:r>
                      <a:r>
                        <a:rPr lang="ru-RU" sz="900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софинансирование</a:t>
                      </a: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расходных обязательств муниципальных образований края на комплексное освоение и развитие территорий края.</a:t>
                      </a:r>
                      <a:endParaRPr lang="ru-RU" sz="12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Увеличение объема жилищного строительства в Хабаровском крае, млн. кв. метров.</a:t>
                      </a:r>
                      <a:endParaRPr lang="ru-RU" sz="12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Ввод жилья в рамках мероприятия по стимулированию программ развития жилищного строительства субъектов Российской Федерации, млн. кв. метров.</a:t>
                      </a:r>
                      <a:endParaRPr lang="ru-RU" sz="12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Объем многоквартирного жилья в стадии строительства в Хабаровском крае, млн. кв. метров.</a:t>
                      </a:r>
                      <a:endParaRPr lang="ru-RU" sz="1200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lvl="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Объем ввода в многоквартирных жилых домах в Хабаровском крае, млн. кв. метров.</a:t>
                      </a:r>
                      <a:endParaRPr lang="ru-RU" sz="12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/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55576" y="297269"/>
            <a:ext cx="7776863" cy="3462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latin typeface="Arial" pitchFamily="34" charset="0"/>
                <a:ea typeface="Calibri" pitchFamily="34" charset="0"/>
                <a:cs typeface="Arial" pitchFamily="34" charset="0"/>
              </a:rPr>
              <a:t>Региональный проект </a:t>
            </a:r>
            <a:r>
              <a:rPr lang="ru-RU" b="1" dirty="0">
                <a:ea typeface="Calibri" pitchFamily="34" charset="0"/>
                <a:cs typeface="Arial" pitchFamily="34" charset="0"/>
              </a:rPr>
              <a:t>«</a:t>
            </a:r>
            <a:r>
              <a:rPr lang="ru-RU" b="1" dirty="0">
                <a:latin typeface="Arial" pitchFamily="34" charset="0"/>
                <a:ea typeface="Calibri" pitchFamily="34" charset="0"/>
                <a:cs typeface="Arial" pitchFamily="34" charset="0"/>
              </a:rPr>
              <a:t>Жилье</a:t>
            </a:r>
            <a:r>
              <a:rPr lang="ru-RU" b="1" dirty="0" smtClean="0">
                <a:ea typeface="Calibri" pitchFamily="34" charset="0"/>
                <a:cs typeface="Arial" pitchFamily="34" charset="0"/>
              </a:rPr>
              <a:t>» Хабаровского края </a:t>
            </a:r>
            <a:endParaRPr lang="ru-RU" sz="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466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1524" y="392406"/>
            <a:ext cx="1589570" cy="809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750595" y="1930217"/>
            <a:ext cx="3150393" cy="23852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1100" dirty="0"/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421856" y="1621385"/>
            <a:ext cx="5329238" cy="122341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dirty="0">
                <a:latin typeface="Arial" pitchFamily="34" charset="0"/>
                <a:cs typeface="Arial" pitchFamily="34" charset="0"/>
              </a:rPr>
              <a:t>1.  </a:t>
            </a:r>
            <a:r>
              <a:rPr lang="ru-RU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Единый план по достижению национальных целей </a:t>
            </a:r>
            <a:r>
              <a:rPr lang="ru-RU" dirty="0">
                <a:latin typeface="Arial" pitchFamily="34" charset="0"/>
                <a:cs typeface="Arial" pitchFamily="34" charset="0"/>
              </a:rPr>
              <a:t>развития Российской Федерации на период до 2024 года и на плановый период до 2030 года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42900" y="3443802"/>
            <a:ext cx="2286000" cy="103874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2100" b="1" dirty="0"/>
              <a:t>КАК РЕШАТЬ ВЫЯВЛЕННЫЕ ПРОБЛЕМЫ?</a:t>
            </a:r>
            <a:endParaRPr lang="ru-RU" sz="2100" dirty="0"/>
          </a:p>
        </p:txBody>
      </p:sp>
      <p:pic>
        <p:nvPicPr>
          <p:cNvPr id="6" name="Picture 2" descr="http://akt-zakon.ru/pars_docs/refs/14/13016/13016_html_7f05b5e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" y="298972"/>
            <a:ext cx="2388394" cy="318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3028950" y="100013"/>
            <a:ext cx="14288" cy="4879181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3334353" y="275839"/>
            <a:ext cx="4056976" cy="1038746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ru-RU" b="1" dirty="0">
                <a:latin typeface="Arial" pitchFamily="34" charset="0"/>
                <a:cs typeface="Arial" pitchFamily="34" charset="0"/>
              </a:rPr>
              <a:t>РЕШЕНИЕ: 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участвовать в корректировке</a:t>
            </a:r>
          </a:p>
          <a:p>
            <a:r>
              <a:rPr lang="ru-RU" sz="1500" dirty="0">
                <a:latin typeface="Arial" pitchFamily="34" charset="0"/>
                <a:cs typeface="Arial" pitchFamily="34" charset="0"/>
              </a:rPr>
              <a:t>существующих региональных проектов </a:t>
            </a:r>
          </a:p>
          <a:p>
            <a:r>
              <a:rPr lang="ru-RU" sz="1500" dirty="0">
                <a:latin typeface="Arial" pitchFamily="34" charset="0"/>
                <a:cs typeface="Arial" pitchFamily="34" charset="0"/>
              </a:rPr>
              <a:t>Хабаровского края в связи с принятием </a:t>
            </a:r>
          </a:p>
          <a:p>
            <a:r>
              <a:rPr lang="ru-RU" sz="1500" dirty="0">
                <a:latin typeface="Arial" pitchFamily="34" charset="0"/>
                <a:cs typeface="Arial" pitchFamily="34" charset="0"/>
              </a:rPr>
              <a:t>документов  Правительства РФ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514726" y="3053596"/>
            <a:ext cx="5422106" cy="1454244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68580" tIns="34290" rIns="68580" bIns="34290">
            <a:spAutoFit/>
          </a:bodyPr>
          <a:lstStyle/>
          <a:p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. Методические рекомендации </a:t>
            </a:r>
            <a:r>
              <a:rPr lang="ru-RU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по организации участия органов местного самоуправления                                                                                                   в реализации региональных проектов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(направлены письмом Аппарата Правительства РФ от 25.08.2020 N П6-51690)</a:t>
            </a:r>
          </a:p>
        </p:txBody>
      </p:sp>
    </p:spTree>
    <p:extLst>
      <p:ext uri="{BB962C8B-B14F-4D97-AF65-F5344CB8AC3E}">
        <p14:creationId xmlns:p14="http://schemas.microsoft.com/office/powerpoint/2010/main" val="3108091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Воспроизводство активистов                               и лидеров в городе</a:t>
            </a:r>
            <a:endParaRPr lang="ru-RU" sz="320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075806"/>
            <a:ext cx="6400800" cy="1153294"/>
          </a:xfrm>
        </p:spPr>
        <p:txBody>
          <a:bodyPr>
            <a:normAutofit fontScale="47500" lnSpcReduction="20000"/>
          </a:bodyPr>
          <a:lstStyle/>
          <a:p>
            <a:pPr lvl="0"/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недрение в 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колы 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урса</a:t>
            </a:r>
          </a:p>
          <a:p>
            <a:pPr lvl="0"/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"</a:t>
            </a:r>
            <a:r>
              <a:rPr lang="ru-RU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новы участия </a:t>
            </a: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тей и </a:t>
            </a:r>
            <a:r>
              <a:rPr lang="ru-RU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олодёжи в </a:t>
            </a: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щественной </a:t>
            </a:r>
            <a:r>
              <a:rPr lang="ru-RU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изни"   </a:t>
            </a:r>
            <a:endParaRPr lang="ru-RU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 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тоговой работой - разработка социального проекта, </a:t>
            </a:r>
            <a:endParaRPr lang="ru-RU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правленного 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решение актуальной  городской 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блемы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336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126029710"/>
              </p:ext>
            </p:extLst>
          </p:nvPr>
        </p:nvGraphicFramePr>
        <p:xfrm>
          <a:off x="259794" y="94774"/>
          <a:ext cx="8527019" cy="49539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5400600" y="2859782"/>
            <a:ext cx="341987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Но для того, чтобы представителям местного самоуправления  </a:t>
            </a:r>
            <a:r>
              <a:rPr lang="ru-RU" sz="1600" b="1" dirty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к</a:t>
            </a:r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онструктивно участвовать в органах управления региональными проектами, они должны, как минимум,  знать ИНТЕРЕСЫ муниципалитета,                   которые там надо отстаивать!!!  </a:t>
            </a:r>
            <a:endParaRPr lang="ru-RU" sz="1600" b="1" dirty="0"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659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44033" y="1223744"/>
            <a:ext cx="7640843" cy="368132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40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Этап </a:t>
            </a:r>
            <a:r>
              <a:rPr lang="ru-RU" sz="24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.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Определить свои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интересы и приоритеты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.  </a:t>
            </a:r>
          </a:p>
          <a:p>
            <a:pPr marL="0" indent="0">
              <a:buNone/>
            </a:pPr>
            <a:r>
              <a:rPr lang="ru-RU" sz="24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Этап</a:t>
            </a:r>
            <a:r>
              <a:rPr lang="ru-RU" sz="2400" dirty="0" smtClean="0">
                <a:solidFill>
                  <a:srgbClr val="C00000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lang="ru-RU" sz="2400" dirty="0">
                <a:solidFill>
                  <a:srgbClr val="C00000"/>
                </a:solidFill>
                <a:latin typeface="Arial" pitchFamily="34" charset="0"/>
                <a:ea typeface="+mj-ea"/>
                <a:cs typeface="Arial" pitchFamily="34" charset="0"/>
              </a:rPr>
              <a:t>2.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Проанализировать национальные и федеральные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проекты </a:t>
            </a:r>
            <a:r>
              <a:rPr lang="ru-RU" sz="1600" dirty="0">
                <a:latin typeface="Arial" pitchFamily="34" charset="0"/>
                <a:cs typeface="Arial" pitchFamily="34" charset="0"/>
              </a:rPr>
              <a:t>и выбрать задачи и мероприятия, которые соответствуют </a:t>
            </a:r>
            <a:r>
              <a:rPr lang="ru-RU" sz="1600" dirty="0" smtClean="0">
                <a:latin typeface="Arial" pitchFamily="34" charset="0"/>
                <a:cs typeface="Arial" pitchFamily="34" charset="0"/>
              </a:rPr>
              <a:t>интересам и приоритетам</a:t>
            </a:r>
            <a:r>
              <a:rPr lang="ru-RU" sz="1500" dirty="0">
                <a:latin typeface="Arial" pitchFamily="34" charset="0"/>
                <a:cs typeface="Arial" pitchFamily="34" charset="0"/>
              </a:rPr>
              <a:t>.   </a:t>
            </a:r>
          </a:p>
          <a:p>
            <a:pPr marL="0" indent="0">
              <a:buNone/>
            </a:pPr>
            <a:endParaRPr lang="ru-RU" sz="15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ru-RU" sz="15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412121" y="261285"/>
            <a:ext cx="8205668" cy="89681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15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КАК  ОРГАНАМ  </a:t>
            </a:r>
            <a:r>
              <a:rPr lang="ru-RU" sz="18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ЕСТНОГО  САМОУПРАВЛЕНИЯ </a:t>
            </a:r>
            <a:r>
              <a:rPr lang="ru-RU" sz="18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                                                   И ГРАЖДАНСКИМ ОРГАНИЗАЦИЯМ УЧАСТВОВАТЬ                                             В РЕГИОНАЛЬНЫХ ПРОЕКТАХ</a:t>
            </a:r>
            <a:endParaRPr lang="ru-RU" sz="1800" b="1" dirty="0">
              <a:solidFill>
                <a:srgbClr val="C00000"/>
              </a:solidFill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49389606"/>
              </p:ext>
            </p:extLst>
          </p:nvPr>
        </p:nvGraphicFramePr>
        <p:xfrm>
          <a:off x="879202" y="2643758"/>
          <a:ext cx="7365206" cy="21777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1770806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75348" y="1326313"/>
            <a:ext cx="6858000" cy="1921533"/>
          </a:xfrm>
        </p:spPr>
        <p:txBody>
          <a:bodyPr>
            <a:normAutofit/>
          </a:bodyPr>
          <a:lstStyle/>
          <a:p>
            <a:r>
              <a:rPr lang="ru-RU" sz="3000" b="1" dirty="0" smtClean="0">
                <a:solidFill>
                  <a:srgbClr val="C00000"/>
                </a:solidFill>
              </a:rPr>
              <a:t>Пример участия                                                         в региональных проектах</a:t>
            </a:r>
            <a:br>
              <a:rPr lang="ru-RU" sz="3000" b="1" dirty="0" smtClean="0">
                <a:solidFill>
                  <a:srgbClr val="C00000"/>
                </a:solidFill>
              </a:rPr>
            </a:br>
            <a:r>
              <a:rPr lang="ru-RU" sz="3000" b="1" dirty="0" smtClean="0">
                <a:solidFill>
                  <a:srgbClr val="C00000"/>
                </a:solidFill>
              </a:rPr>
              <a:t> гражданских </a:t>
            </a:r>
            <a:r>
              <a:rPr lang="ru-RU" sz="3000" b="1" dirty="0">
                <a:solidFill>
                  <a:srgbClr val="C00000"/>
                </a:solidFill>
              </a:rPr>
              <a:t>организаций </a:t>
            </a:r>
            <a:br>
              <a:rPr lang="ru-RU" sz="3000" b="1" dirty="0">
                <a:solidFill>
                  <a:srgbClr val="C00000"/>
                </a:solidFill>
              </a:rPr>
            </a:br>
            <a:r>
              <a:rPr lang="ru-RU" sz="3000" b="1" dirty="0">
                <a:solidFill>
                  <a:srgbClr val="C00000"/>
                </a:solidFill>
              </a:rPr>
              <a:t>и органов местного самоуправления  </a:t>
            </a:r>
          </a:p>
        </p:txBody>
      </p:sp>
    </p:spTree>
    <p:extLst>
      <p:ext uri="{BB962C8B-B14F-4D97-AF65-F5344CB8AC3E}">
        <p14:creationId xmlns:p14="http://schemas.microsoft.com/office/powerpoint/2010/main" val="3667876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577030462"/>
              </p:ext>
            </p:extLst>
          </p:nvPr>
        </p:nvGraphicFramePr>
        <p:xfrm>
          <a:off x="4979194" y="174848"/>
          <a:ext cx="4000500" cy="4629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300037" y="272936"/>
            <a:ext cx="4357688" cy="2319866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 lIns="68580" tIns="34290" rIns="68580" bIns="34290">
            <a:spAutoFit/>
          </a:bodyPr>
          <a:lstStyle/>
          <a:p>
            <a:r>
              <a:rPr lang="ru-RU" sz="1200" b="1" dirty="0"/>
              <a:t>19.12.2019 года Мэр Хабаровска </a:t>
            </a:r>
            <a:r>
              <a:rPr lang="ru-RU" sz="1200" b="1" dirty="0" err="1"/>
              <a:t>С.А.Кравчук</a:t>
            </a:r>
            <a:r>
              <a:rPr lang="ru-RU" sz="1200" b="1" dirty="0"/>
              <a:t> </a:t>
            </a:r>
          </a:p>
          <a:p>
            <a:r>
              <a:rPr lang="ru-RU" sz="1200" dirty="0"/>
              <a:t>в </a:t>
            </a:r>
            <a:r>
              <a:rPr lang="ru-RU" sz="1200" b="1" dirty="0"/>
              <a:t>Ежегодном инвестиционном послании</a:t>
            </a:r>
          </a:p>
          <a:p>
            <a:r>
              <a:rPr lang="ru-RU" sz="1200" b="1" dirty="0"/>
              <a:t> на 2020 год </a:t>
            </a:r>
            <a:r>
              <a:rPr lang="ru-RU" sz="1200" dirty="0"/>
              <a:t>в числе основных направлений </a:t>
            </a:r>
          </a:p>
          <a:p>
            <a:r>
              <a:rPr lang="ru-RU" sz="1200" dirty="0"/>
              <a:t>деятельности Администрации определил: </a:t>
            </a:r>
          </a:p>
          <a:p>
            <a:endParaRPr lang="ru-RU" sz="700" dirty="0"/>
          </a:p>
          <a:p>
            <a:r>
              <a:rPr lang="ru-RU" sz="1200" b="1" i="1" dirty="0">
                <a:solidFill>
                  <a:srgbClr val="C00000"/>
                </a:solidFill>
              </a:rPr>
              <a:t>«В целях создания благоприятного отношения населения и в первую очередь, молодёжи города к предпринимательской деятельности, с нового учебного года в образовательных учреждениях ввести программу  «Основы </a:t>
            </a:r>
            <a:r>
              <a:rPr lang="ru-RU" sz="1200" b="1" i="1" dirty="0" err="1">
                <a:solidFill>
                  <a:srgbClr val="C00000"/>
                </a:solidFill>
              </a:rPr>
              <a:t>самозанятости</a:t>
            </a:r>
            <a:r>
              <a:rPr lang="ru-RU" sz="1200" b="1" i="1" dirty="0">
                <a:solidFill>
                  <a:srgbClr val="C00000"/>
                </a:solidFill>
              </a:rPr>
              <a:t> и предпринимательства». </a:t>
            </a:r>
          </a:p>
          <a:p>
            <a:endParaRPr lang="ru-RU" sz="800" i="1" dirty="0"/>
          </a:p>
          <a:p>
            <a:r>
              <a:rPr lang="ru-RU" sz="1200" dirty="0"/>
              <a:t>Для решения данной задачи Постановлением Администрации Хабаровска от 25.04.2020 №1081 утверждён городской проект. 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21469" y="3309611"/>
            <a:ext cx="4572000" cy="1731243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lIns="68580" tIns="34290" rIns="68580" bIns="34290">
            <a:spAutoFit/>
          </a:bodyPr>
          <a:lstStyle/>
          <a:p>
            <a:pPr algn="r"/>
            <a:r>
              <a:rPr lang="ru-RU" sz="1200" b="1" dirty="0"/>
              <a:t>Президент России В.В. Путин 10.04.2020 года </a:t>
            </a:r>
          </a:p>
          <a:p>
            <a:pPr algn="r"/>
            <a:r>
              <a:rPr lang="ru-RU" sz="1200" dirty="0"/>
              <a:t>поручил</a:t>
            </a:r>
            <a:r>
              <a:rPr lang="ru-RU" sz="1200" b="1" dirty="0"/>
              <a:t> </a:t>
            </a:r>
            <a:r>
              <a:rPr lang="ru-RU" sz="1200" dirty="0"/>
              <a:t>Министерству просвещения России </a:t>
            </a:r>
          </a:p>
          <a:p>
            <a:pPr algn="r"/>
            <a:r>
              <a:rPr lang="ru-RU" sz="1200" dirty="0"/>
              <a:t>в срок до 1.09.2020 </a:t>
            </a:r>
          </a:p>
          <a:p>
            <a:pPr algn="just"/>
            <a:r>
              <a:rPr lang="ru-RU" sz="1200" b="1" i="1" dirty="0">
                <a:solidFill>
                  <a:srgbClr val="C00000"/>
                </a:solidFill>
              </a:rPr>
              <a:t> «представить предложения по внедрению в  образовательный процесс </a:t>
            </a:r>
            <a:r>
              <a:rPr lang="ru-RU" sz="1200" b="1" i="1" u="sng" dirty="0">
                <a:solidFill>
                  <a:srgbClr val="C00000"/>
                </a:solidFill>
              </a:rPr>
              <a:t>дополнительных общеобразовательных программ предпринимательской направленности для детей </a:t>
            </a:r>
            <a:r>
              <a:rPr lang="ru-RU" sz="1200" b="1" i="1" dirty="0">
                <a:solidFill>
                  <a:srgbClr val="C00000"/>
                </a:solidFill>
              </a:rPr>
              <a:t>и  включению соответствующих курсов в основные общеобразовательные программы в  рамках внеурочной деятельности». </a:t>
            </a:r>
          </a:p>
        </p:txBody>
      </p:sp>
      <p:pic>
        <p:nvPicPr>
          <p:cNvPr id="1026" name="Picture 2" descr="https://www.todaykhv.ru/upload/resized/f6f/f6fdd00c1483f44c4e70333978fd0fbf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7042" y="161282"/>
            <a:ext cx="1476427" cy="84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www.obzor.lt/images/news/9496/2018_07_19/pic47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517" y="2800351"/>
            <a:ext cx="1524275" cy="998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473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246" y="584200"/>
            <a:ext cx="5641702" cy="403864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1734" y="134143"/>
            <a:ext cx="1863725" cy="268525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6813" y="2997200"/>
            <a:ext cx="1309559" cy="185202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 descr="Флешка SmartBuy Paean 16GB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2033" y="3200401"/>
            <a:ext cx="1035833" cy="1055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7500021" y="4364475"/>
            <a:ext cx="1555101" cy="40780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100" b="1" dirty="0" err="1"/>
              <a:t>Флешка</a:t>
            </a:r>
            <a:r>
              <a:rPr lang="ru-RU" sz="1100" b="1" dirty="0"/>
              <a:t> </a:t>
            </a:r>
          </a:p>
          <a:p>
            <a:pPr algn="ctr"/>
            <a:r>
              <a:rPr lang="ru-RU" sz="1100" b="1" dirty="0"/>
              <a:t>с видеоматериалами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73248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497468327"/>
              </p:ext>
            </p:extLst>
          </p:nvPr>
        </p:nvGraphicFramePr>
        <p:xfrm>
          <a:off x="252323" y="350044"/>
          <a:ext cx="3720142" cy="2296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381752" y="2704357"/>
            <a:ext cx="3597182" cy="228524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 lIns="68580" tIns="34290" rIns="68580" bIns="34290">
            <a:spAutoFit/>
          </a:bodyPr>
          <a:lstStyle/>
          <a:p>
            <a:r>
              <a:rPr lang="ru-RU" sz="1200" i="1" dirty="0"/>
              <a:t>2.6. </a:t>
            </a:r>
            <a:r>
              <a:rPr lang="ru-RU" sz="1200" b="1" i="1" dirty="0">
                <a:solidFill>
                  <a:srgbClr val="C00000"/>
                </a:solidFill>
              </a:rPr>
              <a:t>Количество </a:t>
            </a:r>
            <a:r>
              <a:rPr lang="ru-RU" sz="1200" b="1" i="1" dirty="0" err="1">
                <a:solidFill>
                  <a:srgbClr val="C00000"/>
                </a:solidFill>
              </a:rPr>
              <a:t>самозанятых</a:t>
            </a:r>
            <a:r>
              <a:rPr lang="ru-RU" sz="1200" b="1" i="1" dirty="0">
                <a:solidFill>
                  <a:srgbClr val="C00000"/>
                </a:solidFill>
              </a:rPr>
              <a:t> граждан</a:t>
            </a:r>
            <a:r>
              <a:rPr lang="ru-RU" sz="1200" i="1" dirty="0"/>
              <a:t>, зафиксировавших свой статус с учетом введения специального налогового режима для </a:t>
            </a:r>
            <a:r>
              <a:rPr lang="ru-RU" sz="1200" i="1" dirty="0" err="1"/>
              <a:t>самозанятых</a:t>
            </a:r>
            <a:r>
              <a:rPr lang="ru-RU" sz="1200" i="1" dirty="0"/>
              <a:t>, достигло 2 400,0 тыс. человек в 2019 - 2024 гг. (нарастающим итогом), в том числе:</a:t>
            </a:r>
            <a:endParaRPr lang="ru-RU" sz="1200" dirty="0"/>
          </a:p>
          <a:p>
            <a:r>
              <a:rPr lang="ru-RU" sz="1200" i="1" dirty="0"/>
              <a:t>в 2019 году - 200,0 тыс. чел.;</a:t>
            </a:r>
            <a:endParaRPr lang="ru-RU" sz="1200" dirty="0"/>
          </a:p>
          <a:p>
            <a:r>
              <a:rPr lang="ru-RU" sz="1200" i="1" dirty="0"/>
              <a:t>в 2020 году - 800,0 тыс. чел.;</a:t>
            </a:r>
            <a:endParaRPr lang="ru-RU" sz="1200" dirty="0"/>
          </a:p>
          <a:p>
            <a:r>
              <a:rPr lang="ru-RU" sz="1200" i="1" dirty="0"/>
              <a:t>в 2021 году - 1 400,0 тыс. чел.;</a:t>
            </a:r>
            <a:endParaRPr lang="ru-RU" sz="1200" dirty="0"/>
          </a:p>
          <a:p>
            <a:r>
              <a:rPr lang="ru-RU" sz="1200" i="1" dirty="0"/>
              <a:t>в 2022 году - 1 800,0 тыс. чел.;</a:t>
            </a:r>
            <a:endParaRPr lang="ru-RU" sz="1200" dirty="0"/>
          </a:p>
          <a:p>
            <a:r>
              <a:rPr lang="ru-RU" sz="1200" i="1" dirty="0"/>
              <a:t>в 2023 году - 2 100,0 тыс. чел.;</a:t>
            </a:r>
            <a:endParaRPr lang="ru-RU" sz="1200" dirty="0"/>
          </a:p>
          <a:p>
            <a:r>
              <a:rPr lang="ru-RU" sz="1200" i="1" dirty="0"/>
              <a:t>в 2024 году - 2 400,0 тыс. чел.</a:t>
            </a:r>
            <a:endParaRPr lang="ru-RU" sz="12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4668825"/>
              </p:ext>
            </p:extLst>
          </p:nvPr>
        </p:nvGraphicFramePr>
        <p:xfrm>
          <a:off x="4127745" y="339502"/>
          <a:ext cx="4774683" cy="192205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44518"/>
                <a:gridCol w="686033"/>
                <a:gridCol w="686033"/>
                <a:gridCol w="686033"/>
                <a:gridCol w="686033"/>
                <a:gridCol w="686033"/>
              </a:tblGrid>
              <a:tr h="774027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убъекты федерации                    ДФО</a:t>
                      </a:r>
                      <a:endParaRPr lang="ru-RU" sz="9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Количество </a:t>
                      </a:r>
                      <a:r>
                        <a:rPr lang="ru-RU" sz="900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самозанятых</a:t>
                      </a: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граждан, </a:t>
                      </a:r>
                      <a:endParaRPr lang="ru-RU" sz="900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зафиксировавших </a:t>
                      </a: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вой статус,   </a:t>
                      </a:r>
                      <a:endParaRPr lang="ru-RU" sz="900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               </a:t>
                      </a: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с учетом введения налогового режима для </a:t>
                      </a:r>
                      <a:r>
                        <a:rPr lang="ru-RU" sz="900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самозанятых</a:t>
                      </a: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lang="ru-RU" sz="9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(человек</a:t>
                      </a: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, нарастающим итогом)</a:t>
                      </a:r>
                      <a:endParaRPr lang="ru-RU" sz="9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42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020 год</a:t>
                      </a:r>
                      <a:endParaRPr lang="ru-RU" sz="9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021  год</a:t>
                      </a:r>
                      <a:endParaRPr lang="ru-RU" sz="9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Arial" pitchFamily="34" charset="0"/>
                          <a:cs typeface="Arial" pitchFamily="34" charset="0"/>
                        </a:rPr>
                        <a:t>2022 год</a:t>
                      </a:r>
                      <a:endParaRPr lang="ru-RU" sz="9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023 год</a:t>
                      </a:r>
                      <a:endParaRPr lang="ru-RU" sz="9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024 год</a:t>
                      </a:r>
                      <a:endParaRPr lang="ru-RU" sz="9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68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Хабаровский край </a:t>
                      </a:r>
                      <a:endParaRPr lang="ru-RU" sz="10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700 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500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700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6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3600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4068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</a:rPr>
                        <a:t>Амурская область 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</a:rPr>
                        <a:t>3000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</a:rPr>
                        <a:t>7000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</a:rPr>
                        <a:t>9000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</a:rPr>
                        <a:t>11000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Calibri"/>
                        </a:rPr>
                        <a:t>13000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205408099"/>
              </p:ext>
            </p:extLst>
          </p:nvPr>
        </p:nvGraphicFramePr>
        <p:xfrm>
          <a:off x="4716016" y="2499742"/>
          <a:ext cx="3816424" cy="2296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2376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64136"/>
            <a:ext cx="3846396" cy="2163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286639"/>
            <a:ext cx="3806392" cy="2141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587" y="2527888"/>
            <a:ext cx="3790389" cy="2132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4840" y="2499742"/>
            <a:ext cx="3791584" cy="2132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083034" y="4659982"/>
            <a:ext cx="30557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hlinkClick r:id="rId6"/>
              </a:rPr>
              <a:t>https://youtu.be/yLCrD3i6TGI</a:t>
            </a:r>
            <a:endParaRPr lang="ru-RU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5250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762" y="942850"/>
            <a:ext cx="8516021" cy="384481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80455" y="369118"/>
            <a:ext cx="8576720" cy="5309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en-US" sz="1500" b="1" dirty="0">
                <a:latin typeface="Arial Narrow" pitchFamily="34" charset="0"/>
                <a:cs typeface="Arial" pitchFamily="34" charset="0"/>
                <a:hlinkClick r:id="rId3"/>
              </a:rPr>
              <a:t>https://</a:t>
            </a:r>
            <a:r>
              <a:rPr lang="en-US" sz="1500" b="1" dirty="0" smtClean="0">
                <a:latin typeface="Arial Narrow" pitchFamily="34" charset="0"/>
                <a:cs typeface="Arial" pitchFamily="34" charset="0"/>
                <a:hlinkClick r:id="rId3"/>
              </a:rPr>
              <a:t>smarteka.com/practices/osnovy-samozanatosti-kak-nacal-naa-skola-predprinimatel-stva?tab=task</a:t>
            </a:r>
            <a:endParaRPr lang="ru-RU" sz="1500" b="1" dirty="0" smtClean="0">
              <a:latin typeface="Arial Narrow" pitchFamily="34" charset="0"/>
              <a:cs typeface="Arial" pitchFamily="34" charset="0"/>
            </a:endParaRPr>
          </a:p>
          <a:p>
            <a:pPr algn="ctr"/>
            <a:endParaRPr lang="ru-RU" sz="1500" b="1" dirty="0">
              <a:latin typeface="Arial Narrow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74328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D:\1\Pictures\Новый рисунок (69)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987574"/>
            <a:ext cx="2880320" cy="3955142"/>
          </a:xfrm>
          <a:prstGeom prst="rect">
            <a:avLst/>
          </a:prstGeom>
          <a:noFill/>
          <a:ln w="12700">
            <a:solidFill>
              <a:srgbClr val="00206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57"/>
          <p:cNvSpPr>
            <a:spLocks noChangeArrowheads="1"/>
          </p:cNvSpPr>
          <p:nvPr/>
        </p:nvSpPr>
        <p:spPr bwMode="auto">
          <a:xfrm>
            <a:off x="539552" y="157520"/>
            <a:ext cx="835089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 anchor="ctr">
            <a:spAutoFit/>
          </a:bodyPr>
          <a:lstStyle/>
          <a:p>
            <a:pPr algn="ctr"/>
            <a:r>
              <a:rPr lang="ru-RU" altLang="ru-RU" sz="2000" b="1" dirty="0">
                <a:latin typeface="Calibri Light" pitchFamily="34" charset="0"/>
                <a:ea typeface="Times New Roman" pitchFamily="18" charset="0"/>
                <a:cs typeface="Calibri Light" pitchFamily="34" charset="0"/>
              </a:rPr>
              <a:t>Практико-ориентированный курс для старшеклассников </a:t>
            </a:r>
            <a:r>
              <a:rPr lang="ru-RU" altLang="ru-RU" sz="2000" b="1" dirty="0" smtClean="0">
                <a:latin typeface="Calibri Light" pitchFamily="34" charset="0"/>
                <a:ea typeface="Times New Roman" pitchFamily="18" charset="0"/>
                <a:cs typeface="Calibri Light" pitchFamily="34" charset="0"/>
              </a:rPr>
              <a:t>                                                      </a:t>
            </a:r>
            <a:r>
              <a:rPr lang="ru-RU" altLang="ru-RU" sz="2200" b="1" dirty="0">
                <a:solidFill>
                  <a:srgbClr val="C00000"/>
                </a:solidFill>
                <a:latin typeface="Calibri Light" pitchFamily="34" charset="0"/>
                <a:ea typeface="Times New Roman" pitchFamily="18" charset="0"/>
                <a:cs typeface="Calibri Light" pitchFamily="34" charset="0"/>
              </a:rPr>
              <a:t>«Основы участия детей и молодежи в общественной жизни» </a:t>
            </a:r>
            <a:r>
              <a:rPr lang="ru-RU" altLang="ru-RU" sz="2000" b="1" dirty="0">
                <a:latin typeface="Calibri Light" pitchFamily="34" charset="0"/>
                <a:ea typeface="Times New Roman" pitchFamily="18" charset="0"/>
                <a:cs typeface="Calibri Light" pitchFamily="34" charset="0"/>
              </a:rPr>
              <a:t> </a:t>
            </a:r>
            <a:endParaRPr lang="ru-RU" altLang="ru-RU" sz="3600" b="1" dirty="0">
              <a:latin typeface="Calibri Light" pitchFamily="34" charset="0"/>
              <a:ea typeface="Times New Roman" pitchFamily="18" charset="0"/>
              <a:cs typeface="Calibri Light" pitchFamily="34" charset="0"/>
            </a:endParaRPr>
          </a:p>
        </p:txBody>
      </p:sp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987574"/>
            <a:ext cx="2844429" cy="3988940"/>
          </a:xfrm>
          <a:prstGeom prst="rect">
            <a:avLst/>
          </a:prstGeom>
          <a:noFill/>
          <a:ln w="12700" cap="sq">
            <a:solidFill>
              <a:schemeClr val="accent1"/>
            </a:solidFill>
            <a:miter lim="800000"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6300192" y="987574"/>
            <a:ext cx="2520280" cy="3924151"/>
          </a:xfrm>
          <a:prstGeom prst="rect">
            <a:avLst/>
          </a:prstGeom>
          <a:ln w="12700"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algn="ctr"/>
            <a:endParaRPr lang="ru-RU" sz="1300" b="1" dirty="0" smtClean="0">
              <a:latin typeface="Calibri Light" pitchFamily="34" charset="0"/>
              <a:cs typeface="Calibri Light" pitchFamily="34" charset="0"/>
            </a:endParaRPr>
          </a:p>
          <a:p>
            <a:pPr algn="ctr"/>
            <a:r>
              <a:rPr lang="ru-RU" sz="1300" b="1" dirty="0" smtClean="0">
                <a:latin typeface="Calibri Light" pitchFamily="34" charset="0"/>
                <a:cs typeface="Calibri Light" pitchFamily="34" charset="0"/>
              </a:rPr>
              <a:t>Курс  разработан  в 2012 году </a:t>
            </a:r>
          </a:p>
          <a:p>
            <a:pPr algn="ctr"/>
            <a:r>
              <a:rPr lang="ru-RU" sz="1300" b="1" dirty="0" smtClean="0">
                <a:latin typeface="Calibri Light" pitchFamily="34" charset="0"/>
                <a:cs typeface="Calibri Light" pitchFamily="34" charset="0"/>
              </a:rPr>
              <a:t>для реализации Раздела VII </a:t>
            </a:r>
            <a:r>
              <a:rPr lang="ru-RU" sz="1300" b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«</a:t>
            </a:r>
            <a:r>
              <a:rPr lang="ru-RU" sz="1300" b="1" i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Дети - участники реализации национальной стратегии»</a:t>
            </a:r>
            <a:r>
              <a:rPr lang="ru-RU" sz="1300" b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, </a:t>
            </a:r>
          </a:p>
          <a:p>
            <a:pPr algn="ctr"/>
            <a:r>
              <a:rPr lang="ru-RU" sz="1300" b="1" dirty="0" smtClean="0">
                <a:latin typeface="Calibri Light" pitchFamily="34" charset="0"/>
                <a:cs typeface="Calibri Light" pitchFamily="34" charset="0"/>
              </a:rPr>
              <a:t>входящего в  </a:t>
            </a:r>
          </a:p>
          <a:p>
            <a:pPr algn="ctr"/>
            <a:r>
              <a:rPr lang="ru-RU" sz="1300" b="1" dirty="0" smtClean="0">
                <a:latin typeface="Calibri Light" pitchFamily="34" charset="0"/>
                <a:cs typeface="Calibri Light" pitchFamily="34" charset="0"/>
              </a:rPr>
              <a:t> «НАЦИОНАЛЬНУЮ  СТРАТЕГИЮ ДЕЙСТВИЙ  В ИНТЕРЕСАХ  ДЕТЕЙ                                НА 2012 - 2017 ГОДЫ», </a:t>
            </a:r>
          </a:p>
          <a:p>
            <a:pPr algn="ctr"/>
            <a:r>
              <a:rPr lang="ru-RU" sz="1300" b="1" dirty="0" smtClean="0">
                <a:latin typeface="Calibri Light" pitchFamily="34" charset="0"/>
                <a:cs typeface="Calibri Light" pitchFamily="34" charset="0"/>
              </a:rPr>
              <a:t>в котором определены следующие  ЗАДАЧИ: </a:t>
            </a:r>
          </a:p>
          <a:p>
            <a:pPr algn="ctr"/>
            <a:endParaRPr lang="ru-RU" sz="600" b="1" i="1" dirty="0" smtClean="0">
              <a:latin typeface="Calibri Light" pitchFamily="34" charset="0"/>
              <a:cs typeface="Calibri Light" pitchFamily="34" charset="0"/>
            </a:endParaRPr>
          </a:p>
          <a:p>
            <a:pPr algn="ctr"/>
            <a:r>
              <a:rPr lang="ru-RU" sz="1300" b="1" i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-</a:t>
            </a:r>
            <a:r>
              <a:rPr lang="ru-RU" sz="1300" b="1" i="1" dirty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привлечение детей к участию в общественной жизни; </a:t>
            </a:r>
            <a:endParaRPr lang="ru-RU" sz="1300" b="1" i="1" dirty="0" smtClean="0">
              <a:solidFill>
                <a:srgbClr val="C00000"/>
              </a:solidFill>
              <a:latin typeface="Calibri Light" pitchFamily="34" charset="0"/>
              <a:cs typeface="Calibri Light" pitchFamily="34" charset="0"/>
            </a:endParaRPr>
          </a:p>
          <a:p>
            <a:pPr algn="ctr"/>
            <a:endParaRPr lang="ru-RU" sz="400" b="1" i="1" dirty="0" smtClean="0">
              <a:solidFill>
                <a:srgbClr val="C00000"/>
              </a:solidFill>
              <a:latin typeface="Calibri Light" pitchFamily="34" charset="0"/>
              <a:cs typeface="Calibri Light" pitchFamily="34" charset="0"/>
            </a:endParaRPr>
          </a:p>
          <a:p>
            <a:pPr algn="ctr"/>
            <a:r>
              <a:rPr lang="ru-RU" sz="1300" b="1" i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-</a:t>
            </a:r>
            <a:r>
              <a:rPr lang="ru-RU" sz="1300" b="1" i="1" dirty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воспитание у детей гражданственности, расширение их знаний в области прав </a:t>
            </a:r>
            <a:r>
              <a:rPr lang="ru-RU" sz="1300" b="1" i="1" dirty="0" smtClean="0">
                <a:solidFill>
                  <a:srgbClr val="C00000"/>
                </a:solidFill>
                <a:latin typeface="Calibri Light" pitchFamily="34" charset="0"/>
                <a:cs typeface="Calibri Light" pitchFamily="34" charset="0"/>
              </a:rPr>
              <a:t>человека. </a:t>
            </a:r>
          </a:p>
          <a:p>
            <a:pPr algn="ctr"/>
            <a:endParaRPr lang="ru-RU" sz="1300" b="1" dirty="0">
              <a:latin typeface="Calibri Light" pitchFamily="34" charset="0"/>
              <a:cs typeface="Calibr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543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одержимое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2384129"/>
              </p:ext>
            </p:extLst>
          </p:nvPr>
        </p:nvGraphicFramePr>
        <p:xfrm>
          <a:off x="251520" y="267494"/>
          <a:ext cx="4283968" cy="45783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18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3204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43204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35852">
                <a:tc rowSpan="2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Программная </a:t>
                      </a:r>
                      <a:r>
                        <a:rPr lang="ru-RU" sz="120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тема</a:t>
                      </a:r>
                      <a:endParaRPr lang="ru-RU" sz="12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b="0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Кол-во  час-</a:t>
                      </a:r>
                      <a:r>
                        <a:rPr lang="ru-RU" sz="1100" b="0" dirty="0" err="1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ов</a:t>
                      </a:r>
                      <a:endParaRPr lang="ru-RU" sz="1200" b="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38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0 </a:t>
                      </a:r>
                      <a:endParaRPr lang="ru-RU" sz="1100" b="1" dirty="0" smtClean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err="1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кл</a:t>
                      </a:r>
                      <a:r>
                        <a:rPr lang="ru-RU" sz="1100" b="1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.</a:t>
                      </a:r>
                      <a:endParaRPr lang="ru-RU" sz="14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1</a:t>
                      </a:r>
                    </a:p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</a:t>
                      </a:r>
                      <a:r>
                        <a:rPr lang="ru-RU" sz="1100" b="1" dirty="0" err="1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кл</a:t>
                      </a:r>
                      <a:r>
                        <a:rPr lang="ru-RU" sz="1100" b="1" dirty="0" smtClean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.</a:t>
                      </a:r>
                      <a:endParaRPr lang="ru-RU" sz="1400" b="1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4389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Тема 1. Россия - демократическое государство.</a:t>
                      </a: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5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+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364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Тема 2. Местное самоуправление как основа демократического государства. </a:t>
                      </a: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7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+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84242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Тема 3. Молодежь и ее правовой статус в современном демократическом обществе.</a:t>
                      </a: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7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+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39853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Тема 4. Участие молодежи в жизни местного сообщества.</a:t>
                      </a: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5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+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06516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Тема 5. Решение молодежных проблем силами молодых людей путем социального проектирования.</a:t>
                      </a: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0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+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85896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Тема 6. Взаимодействие старшеклассников с государственно-общественными органами управления образовательным учреждением по решению проблем школьной молодежи. </a:t>
                      </a: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7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+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65176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Тема 7. Правовое обеспечение государственной молодежной политики в России.</a:t>
                      </a: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3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+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639806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Тема 8. Взаимодействие молодежи с органами государственной власти по проблеме разработки и принятия молодежной политики.</a:t>
                      </a:r>
                    </a:p>
                  </a:txBody>
                  <a:tcPr marL="68588" marR="6858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14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+</a:t>
                      </a:r>
                    </a:p>
                  </a:txBody>
                  <a:tcPr marL="68588" marR="685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4788024" y="267494"/>
            <a:ext cx="4031940" cy="1528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400"/>
              </a:lnSpc>
            </a:pPr>
            <a:r>
              <a:rPr lang="ru-RU" sz="1400" dirty="0" smtClean="0"/>
              <a:t>     Изучения </a:t>
            </a:r>
            <a:r>
              <a:rPr lang="ru-RU" sz="1400" dirty="0"/>
              <a:t>курса вызывает большой интерес старшеклассников и даже их </a:t>
            </a:r>
            <a:r>
              <a:rPr lang="ru-RU" sz="1400" dirty="0" smtClean="0"/>
              <a:t>родителей.  </a:t>
            </a:r>
            <a:r>
              <a:rPr lang="ru-RU" sz="1400" dirty="0"/>
              <a:t>В </a:t>
            </a:r>
            <a:r>
              <a:rPr lang="ru-RU" sz="1400" dirty="0" smtClean="0"/>
              <a:t>ходе </a:t>
            </a:r>
            <a:r>
              <a:rPr lang="ru-RU" sz="1400" dirty="0"/>
              <a:t>изучения темы </a:t>
            </a:r>
            <a:r>
              <a:rPr lang="ru-RU" sz="1400" b="1" dirty="0">
                <a:solidFill>
                  <a:srgbClr val="C00000"/>
                </a:solidFill>
              </a:rPr>
              <a:t>«Решение молодежных проблем силами молодых людей путем социального проектирования»</a:t>
            </a:r>
            <a:r>
              <a:rPr lang="ru-RU" sz="1400" dirty="0"/>
              <a:t>, старшеклассники разрабатывали социальные проекты, направленные на решение актуальных, с их точки зрения, </a:t>
            </a:r>
            <a:r>
              <a:rPr lang="ru-RU" sz="1400" dirty="0" smtClean="0"/>
              <a:t>молодёжных </a:t>
            </a:r>
            <a:r>
              <a:rPr lang="ru-RU" sz="1400" dirty="0"/>
              <a:t>проблем. 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5155" y="3153882"/>
            <a:ext cx="2389253" cy="17941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4860032" y="1923678"/>
            <a:ext cx="403194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i="1" dirty="0" smtClean="0">
                <a:latin typeface="Arial" pitchFamily="34" charset="0"/>
                <a:cs typeface="Arial" pitchFamily="34" charset="0"/>
              </a:rPr>
              <a:t>Пример. 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Двое </a:t>
            </a:r>
            <a:r>
              <a:rPr lang="ru-RU" sz="1100" dirty="0">
                <a:latin typeface="Arial" pitchFamily="34" charset="0"/>
                <a:cs typeface="Arial" pitchFamily="34" charset="0"/>
              </a:rPr>
              <a:t>учащихся посчитали, что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молодёжь, их ровесники  </a:t>
            </a:r>
            <a:r>
              <a:rPr lang="ru-RU" sz="1100" dirty="0">
                <a:latin typeface="Arial" pitchFamily="34" charset="0"/>
                <a:cs typeface="Arial" pitchFamily="34" charset="0"/>
              </a:rPr>
              <a:t>мало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думают </a:t>
            </a:r>
            <a:r>
              <a:rPr lang="ru-RU" sz="1100" dirty="0">
                <a:latin typeface="Arial" pitchFamily="34" charset="0"/>
                <a:cs typeface="Arial" pitchFamily="34" charset="0"/>
              </a:rPr>
              <a:t>о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своём </a:t>
            </a:r>
            <a:r>
              <a:rPr lang="ru-RU" sz="1100" dirty="0">
                <a:latin typeface="Arial" pitchFamily="34" charset="0"/>
                <a:cs typeface="Arial" pitchFamily="34" charset="0"/>
              </a:rPr>
              <a:t>профессиональном самоопределении. </a:t>
            </a:r>
            <a:endParaRPr lang="ru-RU" sz="1100" dirty="0" smtClean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sz="1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        Для </a:t>
            </a:r>
            <a:r>
              <a:rPr lang="ru-RU" sz="1100" dirty="0">
                <a:latin typeface="Arial" pitchFamily="34" charset="0"/>
                <a:cs typeface="Arial" pitchFamily="34" charset="0"/>
              </a:rPr>
              <a:t>решения этой проблемы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они сделали </a:t>
            </a:r>
            <a:r>
              <a:rPr lang="ru-RU" sz="1100" dirty="0">
                <a:latin typeface="Arial" pitchFamily="34" charset="0"/>
                <a:cs typeface="Arial" pitchFamily="34" charset="0"/>
              </a:rPr>
              <a:t>и разместили в сети Интернет видеоклип «Кем стать» </a:t>
            </a:r>
            <a:r>
              <a:rPr lang="ru-RU" sz="1100" dirty="0" smtClean="0">
                <a:latin typeface="Arial" pitchFamily="34" charset="0"/>
                <a:cs typeface="Arial" pitchFamily="34" charset="0"/>
              </a:rPr>
              <a:t>                   см. </a:t>
            </a:r>
            <a:r>
              <a:rPr lang="ru-RU" sz="1050" dirty="0" smtClean="0">
                <a:latin typeface="Arial" pitchFamily="34" charset="0"/>
                <a:cs typeface="Arial" pitchFamily="34" charset="0"/>
                <a:hlinkClick r:id="rId3"/>
              </a:rPr>
              <a:t>http</a:t>
            </a:r>
            <a:r>
              <a:rPr lang="ru-RU" sz="1050" dirty="0">
                <a:latin typeface="Arial" pitchFamily="34" charset="0"/>
                <a:cs typeface="Arial" pitchFamily="34" charset="0"/>
                <a:hlinkClick r:id="rId3"/>
              </a:rPr>
              <a:t>://</a:t>
            </a:r>
            <a:r>
              <a:rPr lang="ru-RU" sz="1050" dirty="0" smtClean="0">
                <a:latin typeface="Arial" pitchFamily="34" charset="0"/>
                <a:cs typeface="Arial" pitchFamily="34" charset="0"/>
                <a:hlinkClick r:id="rId3"/>
              </a:rPr>
              <a:t>www.youtube.com/watch?v=eDQbC5UbDpw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298984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32" name="Picture 1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533" y="123478"/>
            <a:ext cx="1303163" cy="12591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365398" y="1563638"/>
            <a:ext cx="8473354" cy="1611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</a:pPr>
            <a:r>
              <a:rPr lang="ru-RU" sz="1400" dirty="0"/>
              <a:t>2) </a:t>
            </a:r>
            <a:r>
              <a:rPr lang="ru-RU" b="1" dirty="0">
                <a:solidFill>
                  <a:srgbClr val="C00000"/>
                </a:solidFill>
              </a:rPr>
              <a:t>воспитание</a:t>
            </a:r>
            <a:r>
              <a:rPr lang="ru-RU" sz="1600" b="1" dirty="0"/>
              <a:t> </a:t>
            </a:r>
            <a:r>
              <a:rPr lang="ru-RU" sz="1100" dirty="0"/>
              <a:t>- </a:t>
            </a:r>
            <a:r>
              <a:rPr lang="ru-RU" b="1" dirty="0">
                <a:solidFill>
                  <a:srgbClr val="C00000"/>
                </a:solidFill>
              </a:rPr>
              <a:t>деятельность, направленная на </a:t>
            </a:r>
            <a:r>
              <a:rPr lang="ru-RU" sz="1400" dirty="0"/>
              <a:t>развитие личности</a:t>
            </a:r>
            <a:r>
              <a:rPr lang="ru-RU" sz="1400" dirty="0" smtClean="0"/>
              <a:t>, создание </a:t>
            </a:r>
            <a:r>
              <a:rPr lang="ru-RU" sz="1400" dirty="0"/>
              <a:t>условий для самоопределения и социализации обучающихся на </a:t>
            </a:r>
            <a:r>
              <a:rPr lang="ru-RU" sz="1400" dirty="0" smtClean="0"/>
              <a:t>основе социокультурных</a:t>
            </a:r>
            <a:r>
              <a:rPr lang="ru-RU" sz="1400" dirty="0"/>
              <a:t>, духовно-нравственных ценностей и принятых в </a:t>
            </a:r>
            <a:r>
              <a:rPr lang="ru-RU" sz="1400" dirty="0" smtClean="0"/>
              <a:t>российском обществе </a:t>
            </a:r>
            <a:r>
              <a:rPr lang="ru-RU" sz="1400" dirty="0"/>
              <a:t>правил и норм поведения в интересах человека, семьи, общества </a:t>
            </a:r>
            <a:r>
              <a:rPr lang="ru-RU" sz="1400" dirty="0" smtClean="0"/>
              <a:t>и государства</a:t>
            </a:r>
            <a:r>
              <a:rPr lang="ru-RU" sz="1400" dirty="0"/>
              <a:t>, </a:t>
            </a:r>
            <a:r>
              <a:rPr lang="ru-RU" b="1" dirty="0">
                <a:solidFill>
                  <a:srgbClr val="C00000"/>
                </a:solidFill>
              </a:rPr>
              <a:t>формирование у обучающихся чувства </a:t>
            </a:r>
            <a:r>
              <a:rPr lang="ru-RU" sz="1400" dirty="0"/>
              <a:t>патриотизма</a:t>
            </a:r>
            <a:r>
              <a:rPr lang="ru-RU" sz="1400" dirty="0" smtClean="0"/>
              <a:t>, </a:t>
            </a:r>
            <a:r>
              <a:rPr lang="ru-RU" b="1" dirty="0" smtClean="0">
                <a:solidFill>
                  <a:srgbClr val="C00000"/>
                </a:solidFill>
              </a:rPr>
              <a:t>гражданственности</a:t>
            </a:r>
            <a:r>
              <a:rPr lang="ru-RU" sz="1600" b="1" dirty="0">
                <a:solidFill>
                  <a:srgbClr val="C00000"/>
                </a:solidFill>
              </a:rPr>
              <a:t>,</a:t>
            </a:r>
            <a:r>
              <a:rPr lang="ru-RU" sz="1600" b="1" dirty="0"/>
              <a:t> </a:t>
            </a:r>
            <a:r>
              <a:rPr lang="ru-RU" sz="1400" dirty="0"/>
              <a:t>уважения к памяти защитников Отечества и </a:t>
            </a:r>
            <a:r>
              <a:rPr lang="ru-RU" sz="1400" dirty="0" smtClean="0"/>
              <a:t>подвигам Героев </a:t>
            </a:r>
            <a:r>
              <a:rPr lang="ru-RU" sz="1400" dirty="0"/>
              <a:t>Отечества, закону и правопорядку, человеку труда и </a:t>
            </a:r>
            <a:r>
              <a:rPr lang="ru-RU" sz="1400" dirty="0" smtClean="0"/>
              <a:t>старшему поколению</a:t>
            </a:r>
            <a:r>
              <a:rPr lang="ru-RU" sz="1400" dirty="0"/>
              <a:t>, взаимного уважения, бережного отношения к культурному </a:t>
            </a:r>
            <a:r>
              <a:rPr lang="ru-RU" sz="1400" dirty="0" smtClean="0"/>
              <a:t>наследию и </a:t>
            </a:r>
            <a:r>
              <a:rPr lang="ru-RU" sz="1400" dirty="0"/>
              <a:t>традициям многонационального народа </a:t>
            </a:r>
            <a:r>
              <a:rPr lang="ru-RU" sz="1400" dirty="0" smtClean="0"/>
              <a:t>РФ, </a:t>
            </a:r>
            <a:r>
              <a:rPr lang="ru-RU" sz="1400" dirty="0"/>
              <a:t>природе </a:t>
            </a:r>
            <a:r>
              <a:rPr lang="ru-RU" sz="1400" dirty="0" smtClean="0"/>
              <a:t>и окружающей </a:t>
            </a:r>
            <a:r>
              <a:rPr lang="ru-RU" sz="1400" dirty="0"/>
              <a:t>среде</a:t>
            </a:r>
            <a:r>
              <a:rPr lang="ru-RU" sz="1400" dirty="0" smtClean="0"/>
              <a:t>;</a:t>
            </a:r>
            <a:endParaRPr lang="ru-RU" sz="1400" dirty="0"/>
          </a:p>
        </p:txBody>
      </p:sp>
      <p:sp>
        <p:nvSpPr>
          <p:cNvPr id="14" name="Подзаголовок 2"/>
          <p:cNvSpPr txBox="1">
            <a:spLocks/>
          </p:cNvSpPr>
          <p:nvPr/>
        </p:nvSpPr>
        <p:spPr>
          <a:xfrm>
            <a:off x="395536" y="3363838"/>
            <a:ext cx="8424936" cy="576064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90000"/>
              </a:lnSpc>
              <a:defRPr/>
            </a:pPr>
            <a:r>
              <a:rPr lang="ru-RU" sz="1800" b="1" i="1" dirty="0" smtClean="0">
                <a:solidFill>
                  <a:srgbClr val="C00000"/>
                </a:solidFill>
                <a:cs typeface="Calibri Light" pitchFamily="34" charset="0"/>
              </a:rPr>
              <a:t>Гражданственность</a:t>
            </a:r>
            <a:r>
              <a:rPr lang="ru-RU" sz="1800" b="1" i="1" dirty="0" smtClean="0">
                <a:solidFill>
                  <a:srgbClr val="002060"/>
                </a:solidFill>
              </a:rPr>
              <a:t> </a:t>
            </a:r>
            <a:r>
              <a:rPr lang="ru-RU" sz="1800" i="1" dirty="0" smtClean="0">
                <a:solidFill>
                  <a:srgbClr val="002060"/>
                </a:solidFill>
              </a:rPr>
              <a:t>- качество, свойство поведения человека, проявляющиеся в его готовности и способности участвовать в делах общества  и государства    </a:t>
            </a:r>
            <a:endParaRPr lang="ru-RU" sz="1400" i="1" dirty="0" smtClean="0">
              <a:solidFill>
                <a:srgbClr val="002060"/>
              </a:solidFill>
            </a:endParaRPr>
          </a:p>
          <a:p>
            <a:pPr marL="469900" indent="-469900" algn="r">
              <a:lnSpc>
                <a:spcPct val="90000"/>
              </a:lnSpc>
              <a:defRPr/>
            </a:pPr>
            <a:endParaRPr lang="ru-RU" sz="2800" b="1" i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286000" y="195486"/>
            <a:ext cx="646246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cap="all" dirty="0" smtClean="0"/>
              <a:t>федеральный закон От 31 Июля 2020 </a:t>
            </a:r>
            <a:r>
              <a:rPr lang="ru-RU" sz="1400" b="1" cap="all" dirty="0"/>
              <a:t>Г. N 304-ФЗ</a:t>
            </a:r>
          </a:p>
          <a:p>
            <a:pPr algn="ctr"/>
            <a:r>
              <a:rPr lang="ru-RU" b="1" cap="all" dirty="0"/>
              <a:t> "О ВНЕСЕНИИ ИЗМЕНЕНИЙ В ФЕДЕРАЛЬНЫЙ ЗАКОН "ОБ ОБРАЗОВАНИИ В РОССИЙСКОЙ ФЕДЕРАЦИИ"                                                                                                        </a:t>
            </a:r>
            <a:r>
              <a:rPr lang="ru-RU" b="1" cap="all" dirty="0">
                <a:solidFill>
                  <a:srgbClr val="C00000"/>
                </a:solidFill>
              </a:rPr>
              <a:t>ПО ВОПРОСАМ ВОСПИТАНИЯ ОБУЧАЮЩИХСЯ</a:t>
            </a:r>
            <a:r>
              <a:rPr lang="ru-RU" b="1" cap="all" dirty="0"/>
              <a:t>"</a:t>
            </a:r>
            <a:endParaRPr lang="ru-RU" dirty="0"/>
          </a:p>
          <a:p>
            <a:endParaRPr lang="ru-RU" sz="1400" dirty="0"/>
          </a:p>
        </p:txBody>
      </p:sp>
      <p:sp>
        <p:nvSpPr>
          <p:cNvPr id="8" name="Подзаголовок 2"/>
          <p:cNvSpPr txBox="1">
            <a:spLocks/>
          </p:cNvSpPr>
          <p:nvPr/>
        </p:nvSpPr>
        <p:spPr>
          <a:xfrm>
            <a:off x="395536" y="4227934"/>
            <a:ext cx="8424936" cy="648072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ru-RU" sz="2000" b="1" dirty="0" smtClean="0">
                <a:solidFill>
                  <a:srgbClr val="C00000"/>
                </a:solidFill>
                <a:cs typeface="Calibri Light" pitchFamily="34" charset="0"/>
              </a:rPr>
              <a:t>Все образовательные организации страны должны к 1 сентября 2021 года разработать  программу воспитания</a:t>
            </a:r>
            <a:endParaRPr lang="ru-RU" sz="2800" b="1" i="1" dirty="0"/>
          </a:p>
        </p:txBody>
      </p:sp>
    </p:spTree>
    <p:extLst>
      <p:ext uri="{BB962C8B-B14F-4D97-AF65-F5344CB8AC3E}">
        <p14:creationId xmlns:p14="http://schemas.microsoft.com/office/powerpoint/2010/main" val="3109451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205979"/>
            <a:ext cx="5472608" cy="857250"/>
          </a:xfrm>
        </p:spPr>
        <p:txBody>
          <a:bodyPr>
            <a:normAutofit/>
          </a:bodyPr>
          <a:lstStyle/>
          <a:p>
            <a:r>
              <a:rPr lang="ru-RU" sz="1800" b="1" dirty="0"/>
              <a:t>Федеральный закон от 30 декабря 2020 г. № 489-ФЗ</a:t>
            </a:r>
            <a:r>
              <a:rPr lang="ru-RU" sz="2000" b="1" dirty="0"/>
              <a:t> 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2000" b="1" dirty="0" smtClean="0"/>
              <a:t>"</a:t>
            </a:r>
            <a:r>
              <a:rPr lang="ru-RU" sz="2000" b="1" dirty="0"/>
              <a:t>О молодежной политике в РФ</a:t>
            </a:r>
            <a:r>
              <a:rPr lang="ru-RU" sz="2000" b="1" dirty="0" smtClean="0"/>
              <a:t>"</a:t>
            </a:r>
            <a:endParaRPr lang="ru-RU" sz="32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200151"/>
            <a:ext cx="5194920" cy="339447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sz="18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Целями молодежной политики </a:t>
            </a:r>
            <a:r>
              <a:rPr lang="ru-RU" sz="1800" dirty="0">
                <a:latin typeface="Arial" pitchFamily="34" charset="0"/>
                <a:cs typeface="Arial" pitchFamily="34" charset="0"/>
              </a:rPr>
              <a:t>являются:</a:t>
            </a:r>
          </a:p>
          <a:p>
            <a:pPr marL="0" indent="0">
              <a:buNone/>
            </a:pPr>
            <a:r>
              <a:rPr lang="ru-RU" sz="1800" dirty="0" smtClean="0">
                <a:latin typeface="Arial" pitchFamily="34" charset="0"/>
                <a:cs typeface="Arial" pitchFamily="34" charset="0"/>
              </a:rPr>
              <a:t>	3</a:t>
            </a:r>
            <a:r>
              <a:rPr lang="ru-RU" sz="1800" dirty="0">
                <a:latin typeface="Arial" pitchFamily="34" charset="0"/>
                <a:cs typeface="Arial" pitchFamily="34" charset="0"/>
              </a:rPr>
              <a:t>) создание условий </a:t>
            </a:r>
            <a:r>
              <a:rPr lang="ru-RU" sz="18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для участия молодежи в политической, социально-экономической</a:t>
            </a:r>
            <a:r>
              <a:rPr lang="ru-RU" sz="1800" dirty="0">
                <a:latin typeface="Arial" pitchFamily="34" charset="0"/>
                <a:cs typeface="Arial" pitchFamily="34" charset="0"/>
              </a:rPr>
              <a:t>, научной, спортивной и культурной жизни общества;</a:t>
            </a:r>
          </a:p>
          <a:p>
            <a:pPr marL="0" indent="0">
              <a:buNone/>
            </a:pPr>
            <a:endParaRPr lang="ru-RU" sz="1800" b="1" dirty="0" smtClean="0"/>
          </a:p>
          <a:p>
            <a:pPr marL="0" indent="0">
              <a:buNone/>
            </a:pPr>
            <a:r>
              <a:rPr lang="ru-RU" sz="2000" b="1" dirty="0" smtClean="0">
                <a:solidFill>
                  <a:srgbClr val="C00000"/>
                </a:solidFill>
              </a:rPr>
              <a:t>Основными </a:t>
            </a:r>
            <a:r>
              <a:rPr lang="ru-RU" sz="2000" b="1" dirty="0">
                <a:solidFill>
                  <a:srgbClr val="C00000"/>
                </a:solidFill>
              </a:rPr>
              <a:t>направлениями </a:t>
            </a:r>
            <a:r>
              <a:rPr lang="ru-RU" sz="2000" dirty="0"/>
              <a:t>реализации молодежной политики являются:</a:t>
            </a:r>
          </a:p>
          <a:p>
            <a:pPr marL="0" indent="0">
              <a:buNone/>
            </a:pPr>
            <a:r>
              <a:rPr lang="ru-RU" sz="2000" dirty="0" smtClean="0"/>
              <a:t>	1</a:t>
            </a:r>
            <a:r>
              <a:rPr lang="ru-RU" sz="2000" dirty="0"/>
              <a:t>) </a:t>
            </a:r>
            <a:r>
              <a:rPr lang="ru-RU" sz="2000" b="1" dirty="0">
                <a:solidFill>
                  <a:srgbClr val="C00000"/>
                </a:solidFill>
              </a:rPr>
              <a:t>воспитание гражданственности</a:t>
            </a:r>
            <a:r>
              <a:rPr lang="ru-RU" sz="2000" dirty="0"/>
              <a:t>, патриотизма, преемственности традиций, уважения к отечественной истории, историческим, национальным и иным традициям народов РФ;</a:t>
            </a:r>
          </a:p>
          <a:p>
            <a:pPr marL="0" indent="0">
              <a:buNone/>
            </a:pPr>
            <a:endParaRPr lang="ru-RU" sz="1800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561082"/>
            <a:ext cx="3158702" cy="4386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4972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4tYyORtm6KuGgf2dyKA"/>
</p:tagLst>
</file>

<file path=ppt/theme/theme1.xml><?xml version="1.0" encoding="utf-8"?>
<a:theme xmlns:a="http://schemas.openxmlformats.org/drawingml/2006/main" name="Тема Office">
  <a:themeElements>
    <a:clrScheme name="Городская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6</TotalTime>
  <Words>5860</Words>
  <Application>Microsoft Office PowerPoint</Application>
  <PresentationFormat>Экран (16:9)</PresentationFormat>
  <Paragraphs>968</Paragraphs>
  <Slides>57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7</vt:i4>
      </vt:variant>
    </vt:vector>
  </HeadingPairs>
  <TitlesOfParts>
    <vt:vector size="59" baseType="lpstr">
      <vt:lpstr>Тема Office</vt:lpstr>
      <vt:lpstr>Слайд think-cell</vt:lpstr>
      <vt:lpstr>ПРАКТИКИ  МЕЖСЕКТОРНОГО  ВЗАИМОДЕЙСТВИЕ  В  МЕСТНОМ  САМОУПРАВЛЕНИИ:  из опыта Дальневосточного научного                                      центра местного самоуправления  </vt:lpstr>
      <vt:lpstr>Понятия и базовые установки                                    при разработке практик  </vt:lpstr>
      <vt:lpstr>Презентация PowerPoint</vt:lpstr>
      <vt:lpstr>Презентация PowerPoint</vt:lpstr>
      <vt:lpstr>Воспроизводство активистов                               и лидеров в городе</vt:lpstr>
      <vt:lpstr>Презентация PowerPoint</vt:lpstr>
      <vt:lpstr>Презентация PowerPoint</vt:lpstr>
      <vt:lpstr>Презентация PowerPoint</vt:lpstr>
      <vt:lpstr>Федеральный закон от 30 декабря 2020 г. № 489-ФЗ   "О молодежной политике в РФ"</vt:lpstr>
      <vt:lpstr>Практики межсекторного взаимодействия в стратегическом планировании </vt:lpstr>
      <vt:lpstr>Презентация PowerPoint</vt:lpstr>
      <vt:lpstr>Местное самоуправление должно  обеспечить «производство» на территории муниципалитета </vt:lpstr>
      <vt:lpstr>Межсекторное взаимодействие  при мониторинге (маркетинговых исследованиях)  муниципальных отраслевых рынков</vt:lpstr>
      <vt:lpstr>Презентация PowerPoint</vt:lpstr>
      <vt:lpstr>Презентация PowerPoint</vt:lpstr>
      <vt:lpstr>Презентация PowerPoint</vt:lpstr>
      <vt:lpstr>Задачи по развитию рынка бытового обслуживания в Хабаровске</vt:lpstr>
      <vt:lpstr>Соколов А.Н.: «В первую очередь разработайте механизмы привлечения немуниципальных поставщиков к предоставлению муниципальных бюджетных услуг  в сфере                        дополнительного образования детей» </vt:lpstr>
      <vt:lpstr>Презентация PowerPoint</vt:lpstr>
      <vt:lpstr>Презентация PowerPoint</vt:lpstr>
      <vt:lpstr>Презентация PowerPoint</vt:lpstr>
      <vt:lpstr>Варианты привлечения немуниципальных поставщиков к оказанию муниципальных бюджетных услуг  дополнительного образования </vt:lpstr>
      <vt:lpstr>Вариант 2.  Муниципальный заказ и конкурс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ъезд ОКМО «Участие муниципального сообщества в реализации национальных проектов» Москва 7-8 февраля 2019 года</vt:lpstr>
      <vt:lpstr>Постановление Администрации Хабаровска от 25.04.2020 №1081   «Об  организации проектной деятельности                      в администрации Хабаровска» </vt:lpstr>
      <vt:lpstr>Задача 1. Проанализировать национальные проекты и региональные проекты Хабаровского края с целью выявления возможностей для участия граждан, бизнеса и НКО в их реализации на территории Хабаровска.    Задача 2. Разработать пакет информационных материалов с задачами национальных и региональных проектов,  в  реализации которых  целесообразно участвовать институтам гражданского общества.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БЛЕМА  1. Не все мероприятия национальных проектов, предполагающие участие гражданских организаций, включены в региональные проекты Хабаровского края    </vt:lpstr>
      <vt:lpstr>Презентация PowerPoint</vt:lpstr>
      <vt:lpstr>Презентация PowerPoint</vt:lpstr>
      <vt:lpstr>ПРОБЛЕМА 2. Не все мероприятия федеральных проектов, которые должны планироваться и осуществляться  органами государственной власти субъектов  федерации,  включены  в региональные проекты Хабаровского края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имер участия                                                         в региональных проектах  гражданских организаций  и органов местного самоуправления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овольный пользователь Microsoft Office</dc:creator>
  <cp:lastModifiedBy>Довольный пользователь Microsoft Office</cp:lastModifiedBy>
  <cp:revision>66</cp:revision>
  <cp:lastPrinted>2021-01-21T03:15:57Z</cp:lastPrinted>
  <dcterms:created xsi:type="dcterms:W3CDTF">2021-01-19T07:10:23Z</dcterms:created>
  <dcterms:modified xsi:type="dcterms:W3CDTF">2021-01-23T02:42:48Z</dcterms:modified>
</cp:coreProperties>
</file>